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5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3" r:id="rId5"/>
    <p:sldMasterId id="2147483689" r:id="rId6"/>
    <p:sldMasterId id="2147483698" r:id="rId7"/>
  </p:sldMasterIdLst>
  <p:notesMasterIdLst>
    <p:notesMasterId r:id="rId20"/>
  </p:notesMasterIdLst>
  <p:sldIdLst>
    <p:sldId id="2147376280" r:id="rId8"/>
    <p:sldId id="2147472356" r:id="rId9"/>
    <p:sldId id="2147473433" r:id="rId10"/>
    <p:sldId id="2147470358" r:id="rId11"/>
    <p:sldId id="2147473437" r:id="rId12"/>
    <p:sldId id="2147473425" r:id="rId13"/>
    <p:sldId id="2147473426" r:id="rId14"/>
    <p:sldId id="2147470356" r:id="rId15"/>
    <p:sldId id="2147473431" r:id="rId16"/>
    <p:sldId id="2147473427" r:id="rId17"/>
    <p:sldId id="2147473429" r:id="rId18"/>
    <p:sldId id="2147473438" r:id="rId19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  <a:srgbClr val="DEEBF7"/>
    <a:srgbClr val="66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107144-CD02-4FE7-973E-B4A395C895B8}" v="3" dt="2024-04-26T19:21:55.2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357" autoAdjust="0"/>
  </p:normalViewPr>
  <p:slideViewPr>
    <p:cSldViewPr snapToGrid="0">
      <p:cViewPr varScale="1">
        <p:scale>
          <a:sx n="86" d="100"/>
          <a:sy n="86" d="100"/>
        </p:scale>
        <p:origin x="533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chard Jose Tadeo Zenteno" userId="8252a11b-bd38-4e77-b2a5-44853dbf255a" providerId="ADAL" clId="{BE107144-CD02-4FE7-973E-B4A395C895B8}"/>
    <pc:docChg chg="addSld delSld modSld">
      <pc:chgData name="Richard Jose Tadeo Zenteno" userId="8252a11b-bd38-4e77-b2a5-44853dbf255a" providerId="ADAL" clId="{BE107144-CD02-4FE7-973E-B4A395C895B8}" dt="2024-04-26T19:21:55.254" v="2"/>
      <pc:docMkLst>
        <pc:docMk/>
      </pc:docMkLst>
      <pc:sldChg chg="add del">
        <pc:chgData name="Richard Jose Tadeo Zenteno" userId="8252a11b-bd38-4e77-b2a5-44853dbf255a" providerId="ADAL" clId="{BE107144-CD02-4FE7-973E-B4A395C895B8}" dt="2024-04-26T19:21:55.254" v="2"/>
        <pc:sldMkLst>
          <pc:docMk/>
          <pc:sldMk cId="3182754123" sldId="214747235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4AB264-FC38-4233-BD21-40C16E121631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AEA0F9-B088-4919-BFA8-43F44326AE55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7400246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4002AA-0815-4EC1-9053-90EC9E44800A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754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10050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E37271-DFDD-4758-8C14-6CDD4BAD0838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00875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6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3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A8D1BC1-0DC0-BA7D-7D23-5F8373F481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B596A47-72FE-AC68-B035-BCABFF9F24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0B4A201-4197-1A14-FCBF-DFE46046DC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798A5-24E9-4455-A98C-E0FFF73B6771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DC671B8-7464-3A30-29A6-0B34AEAA81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EE95910-91FD-9FEF-1EFA-FD6C633FA0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C14E2-BA02-4081-9AF4-CD0D27E2CEC7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798639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8AA4884-8050-DC7B-DEB1-8D7516A15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533B473-7991-29B9-DE70-A87580A4AA8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2921BC03-2B24-5B32-7E5C-FD1D59688C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637B8BF-0EE3-4778-DC5D-77FDD81E09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798A5-24E9-4455-A98C-E0FFF73B6771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E4CB542-85CF-838C-9C7A-5F94F8D65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8F0BC5D-B4CC-8012-4F68-1D30D5840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C14E2-BA02-4081-9AF4-CD0D27E2CEC7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4402153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97814B-E34B-5C96-BDEC-036E3A850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D3A29DDB-9947-8C19-3E76-9FD2AC4D28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D734EBF-F6B7-2CB3-33B2-5A391135F4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798A5-24E9-4455-A98C-E0FFF73B6771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00FEDC1-C2F6-481A-0AB4-24C10A8538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65EB36B-C12A-28D3-C2E6-47BD9E8FBE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C14E2-BA02-4081-9AF4-CD0D27E2CEC7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648967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78E3AE5-6944-6173-4393-71607AD862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CDFF13EE-EE93-36F8-7ABD-1196BB74A5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9A6EC1A-7142-CB53-2CC7-962E040F53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798A5-24E9-4455-A98C-E0FFF73B6771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3D8C51A-0E79-22C8-4ED9-59703EBDC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6C34118-381B-2F7F-329F-82D9DC1050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C14E2-BA02-4081-9AF4-CD0D27E2CEC7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6721016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93B074-AB62-D6F5-C08E-2616514102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0FFB7A7-887F-30DA-C2C4-60971A7094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582D35E-B2D3-848A-D6C6-4EC7045B43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357F5-088A-42B3-AAF1-6699217CCCD3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17FC46D-5318-2CF1-2C0C-25E43A3FD1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7FB51A5-98D9-AFBC-852A-5244D21AF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96C2-AF07-44C1-BE3F-F063FF072BF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44524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4168D15-D207-349F-63B7-369E98E08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C45A7E4C-E2BF-8CE5-3FCF-CB30A9F13D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752BBC6-73A7-B1E7-479F-3C495B0D1D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357F5-088A-42B3-AAF1-6699217CCCD3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69856D-F84C-22ED-7FB4-8C3C1B0426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085A67D-032D-7B93-1D84-5A7A6DB2A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96C2-AF07-44C1-BE3F-F063FF072BF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739782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67CE43-D581-3C37-7BE5-DE73E9BAE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17CAC57-F4B8-6194-5B92-4B56D1972B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E5A375F-E9EE-8B59-3065-A457A54C4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357F5-088A-42B3-AAF1-6699217CCCD3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90D7638-586E-2A0A-D586-D0ABC8928C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290725A-9FFA-529F-C35C-EAF7B75FF7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96C2-AF07-44C1-BE3F-F063FF072BF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2747265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3313699-8C32-3DE9-368C-CC7C99D2AE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1E3594B-1006-86CE-770C-3F387C85ED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C0E7018-1636-BB99-1EAF-FD50F9F3CE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3CC45CB-3A92-0297-78F3-3F6F7DB9B1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357F5-088A-42B3-AAF1-6699217CCCD3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90F7DAE-6E8F-A1B8-380B-EB18DA131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B14A96C-ABF6-ABA9-7068-D564C8F108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96C2-AF07-44C1-BE3F-F063FF072BF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4257865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0F8DC9A-6671-F571-EE91-2DD7A961F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232D4DF-B28D-52B1-95A5-2D210A29F6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62DE6D9-D1F6-BA60-9948-FDE85EF8F8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6A985AF1-1A48-FE07-588E-80DF6F9976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6A2BCCBA-D8B0-6F1C-6F0A-A6883EB7A1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E2E1A0D-31F2-5EF2-A1C8-2CA6724CEE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357F5-088A-42B3-AAF1-6699217CCCD3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437FD20C-DE23-F943-F5B1-E33ED2E170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9BDC1DD0-348C-B6A1-1F6E-718CC96F3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96C2-AF07-44C1-BE3F-F063FF072BF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9812738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4514EE-1F11-DC9C-0487-1ACDEFB95E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121C19A0-1607-3987-22B9-126D5E9CC1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357F5-088A-42B3-AAF1-6699217CCCD3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2DC82B0-0742-B4E0-2260-451597CF05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F215847-2F3E-18B4-EEF1-BD96EF944D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96C2-AF07-44C1-BE3F-F063FF072BF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442148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7CF0BDAA-A2AE-A591-628A-47B97C07A2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357F5-088A-42B3-AAF1-6699217CCCD3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0FB84E5-F312-86B5-085A-1C5E404FA3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47863F9-10FF-B765-0B9F-63D8CF348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96C2-AF07-44C1-BE3F-F063FF072BF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890487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76F2CE-78A4-6964-D210-F21F3FCC9E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657BDC6-5A0D-F49D-A52C-543C35E303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F26A8A4-FB4F-755D-9C64-BFEB858FBD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PE"/>
              <a:t>©2024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2284FFE-78F0-9ECD-FC68-2BFE8EE45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C14E2-BA02-4081-9AF4-CD0D27E2CEC7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4008932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E7F9933-F79F-2393-F220-A686A9B63D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0F7F80B-C6E3-C78F-D80F-5655A97A37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8C139783-563C-4C32-F263-3BE8E52946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19501DA0-D497-DD82-645D-DF4AC8DCD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357F5-088A-42B3-AAF1-6699217CCCD3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E4F99098-79D8-6F8B-2F6E-FFC4367DA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4A8CACE-A748-1E4B-5B02-AB9F6012A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96C2-AF07-44C1-BE3F-F063FF072BF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3881894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E51888F-5DEF-069F-53E8-821064EDF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F14389A4-EFCB-2924-C69E-552991B956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74A504B-0FD6-597B-5836-EC5C3E4201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888FD1E-1B4A-3578-CAD0-98CB9F3541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357F5-088A-42B3-AAF1-6699217CCCD3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5281072-9A14-3F7A-9593-A266C4101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C6449BE-9DBF-ED07-E766-E4369D9D9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96C2-AF07-44C1-BE3F-F063FF072BF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553259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2FB1A5-3A63-5B4E-613E-8B648B379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A3F9706-92B2-AF7C-66D8-CBEF0774246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49E9745-2D8C-94E5-1099-E8B2D80A33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357F5-088A-42B3-AAF1-6699217CCCD3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6CF5E03-CF78-41F4-00D3-C1336890A0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0633872-D90A-6DAF-9E0C-E536A10309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96C2-AF07-44C1-BE3F-F063FF072BF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4378414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B485073-6256-A9C5-67CA-0FABA7CFFC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FCD4E0B9-DCE8-E837-5B8F-2966072ED7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E92B033-4842-5992-1FD5-0CE4AAA8E0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357F5-088A-42B3-AAF1-6699217CCCD3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D945928-D329-1A59-0CBD-AC600F01B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0122034-0971-4B08-D6DC-4868ECE940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96C2-AF07-44C1-BE3F-F063FF072BF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06686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contenido 10"/>
          <p:cNvSpPr>
            <a:spLocks noGrp="1"/>
          </p:cNvSpPr>
          <p:nvPr>
            <p:ph sz="quarter" idx="11"/>
          </p:nvPr>
        </p:nvSpPr>
        <p:spPr>
          <a:xfrm>
            <a:off x="995363" y="1112838"/>
            <a:ext cx="10680700" cy="5154612"/>
          </a:xfrm>
          <a:noFill/>
        </p:spPr>
        <p:txBody>
          <a:bodyPr>
            <a:normAutofit/>
          </a:bodyPr>
          <a:lstStyle>
            <a:lvl1pPr>
              <a:defRPr sz="1800">
                <a:latin typeface="Tw Cen MT" panose="020B0602020104020603" pitchFamily="34" charset="0"/>
              </a:defRPr>
            </a:lvl1pPr>
            <a:lvl2pPr>
              <a:defRPr sz="1800">
                <a:latin typeface="Tw Cen MT" panose="020B0602020104020603" pitchFamily="34" charset="0"/>
              </a:defRPr>
            </a:lvl2pPr>
            <a:lvl3pPr>
              <a:defRPr sz="1800">
                <a:latin typeface="Tw Cen MT" panose="020B0602020104020603" pitchFamily="34" charset="0"/>
              </a:defRPr>
            </a:lvl3pPr>
            <a:lvl4pPr>
              <a:defRPr sz="1800">
                <a:latin typeface="Tw Cen MT" panose="020B0602020104020603" pitchFamily="34" charset="0"/>
              </a:defRPr>
            </a:lvl4pPr>
            <a:lvl5pPr>
              <a:defRPr sz="1800">
                <a:latin typeface="Tw Cen MT" panose="020B0602020104020603" pitchFamily="34" charset="0"/>
              </a:defRPr>
            </a:lvl5pPr>
          </a:lstStyle>
          <a:p>
            <a:pPr lvl="0"/>
            <a:r>
              <a:rPr lang="es-ES" noProof="0"/>
              <a:t>Edit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s-PE" noProof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D5A4907-2F30-4D15-B042-DE4F6A728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454" y="144785"/>
            <a:ext cx="10672293" cy="494191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>
                    <a:lumMod val="50000"/>
                  </a:schemeClr>
                </a:solidFill>
                <a:latin typeface="Tw Cen MT" panose="020B0602020104020603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cxnSp>
        <p:nvCxnSpPr>
          <p:cNvPr id="6" name="Straight Connector 47">
            <a:extLst>
              <a:ext uri="{FF2B5EF4-FFF2-40B4-BE49-F238E27FC236}">
                <a16:creationId xmlns:a16="http://schemas.microsoft.com/office/drawing/2014/main" id="{8EC70DEF-B4DB-414A-8DF3-628658BE760F}"/>
              </a:ext>
            </a:extLst>
          </p:cNvPr>
          <p:cNvCxnSpPr>
            <a:cxnSpLocks/>
          </p:cNvCxnSpPr>
          <p:nvPr userDrawn="1"/>
        </p:nvCxnSpPr>
        <p:spPr>
          <a:xfrm>
            <a:off x="995448" y="1030152"/>
            <a:ext cx="10680300" cy="0"/>
          </a:xfrm>
          <a:prstGeom prst="line">
            <a:avLst/>
          </a:prstGeom>
          <a:noFill/>
          <a:ln w="25400" cap="flat" cmpd="sng" algn="ctr">
            <a:solidFill>
              <a:srgbClr val="004A8F"/>
            </a:solidFill>
            <a:prstDash val="solid"/>
          </a:ln>
          <a:effectLst/>
        </p:spPr>
      </p:cxnSp>
      <p:sp>
        <p:nvSpPr>
          <p:cNvPr id="8" name="Marcador de contenido 7"/>
          <p:cNvSpPr>
            <a:spLocks noGrp="1"/>
          </p:cNvSpPr>
          <p:nvPr>
            <p:ph sz="quarter" idx="10"/>
          </p:nvPr>
        </p:nvSpPr>
        <p:spPr>
          <a:xfrm>
            <a:off x="1003300" y="672814"/>
            <a:ext cx="5948343" cy="390525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rgbClr val="002060"/>
                </a:solidFill>
                <a:latin typeface="Tw Cen MT" panose="020B0602020104020603" pitchFamily="34" charset="0"/>
              </a:defRPr>
            </a:lvl1pPr>
          </a:lstStyle>
          <a:p>
            <a:pPr lvl="0"/>
            <a:r>
              <a:rPr lang="es-ES"/>
              <a:t>Editar los estilos de texto del patrón</a:t>
            </a:r>
          </a:p>
        </p:txBody>
      </p:sp>
      <p:grpSp>
        <p:nvGrpSpPr>
          <p:cNvPr id="7" name="Agrupar 13">
            <a:extLst>
              <a:ext uri="{FF2B5EF4-FFF2-40B4-BE49-F238E27FC236}">
                <a16:creationId xmlns:a16="http://schemas.microsoft.com/office/drawing/2014/main" id="{1BE595A5-F470-492B-89F4-EF20F5CB6D50}"/>
              </a:ext>
            </a:extLst>
          </p:cNvPr>
          <p:cNvGrpSpPr/>
          <p:nvPr userDrawn="1"/>
        </p:nvGrpSpPr>
        <p:grpSpPr>
          <a:xfrm>
            <a:off x="956334" y="6357160"/>
            <a:ext cx="10680700" cy="215444"/>
            <a:chOff x="944054" y="5369051"/>
            <a:chExt cx="7804380" cy="215444"/>
          </a:xfrm>
        </p:grpSpPr>
        <p:sp>
          <p:nvSpPr>
            <p:cNvPr id="9" name="TextBox 7">
              <a:extLst>
                <a:ext uri="{FF2B5EF4-FFF2-40B4-BE49-F238E27FC236}">
                  <a16:creationId xmlns:a16="http://schemas.microsoft.com/office/drawing/2014/main" id="{B10A9B6C-14D8-4060-9B38-F0452DF31322}"/>
                </a:ext>
              </a:extLst>
            </p:cNvPr>
            <p:cNvSpPr txBox="1"/>
            <p:nvPr userDrawn="1"/>
          </p:nvSpPr>
          <p:spPr>
            <a:xfrm>
              <a:off x="944054" y="5369051"/>
              <a:ext cx="152003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kern="120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Calibri"/>
                  <a:sym typeface="Wingdings"/>
                </a:rPr>
                <a:t>BANCO DE CREDITO DEL PERU </a:t>
              </a:r>
              <a:r>
                <a:rPr lang="en-US" sz="800">
                  <a:solidFill>
                    <a:schemeClr val="bg1">
                      <a:lumMod val="50000"/>
                    </a:schemeClr>
                  </a:solidFill>
                  <a:latin typeface="Calibri"/>
                  <a:ea typeface="Wingdings"/>
                  <a:cs typeface="Calibri"/>
                  <a:sym typeface="Wingdings"/>
                </a:rPr>
                <a:t></a:t>
              </a:r>
              <a:r>
                <a:rPr lang="en-US" sz="800" kern="1200">
                  <a:solidFill>
                    <a:schemeClr val="bg1">
                      <a:lumMod val="50000"/>
                    </a:schemeClr>
                  </a:solidFill>
                  <a:latin typeface="Calibri"/>
                  <a:ea typeface="+mn-ea"/>
                  <a:cs typeface="Calibri"/>
                  <a:sym typeface="Wingdings"/>
                </a:rPr>
                <a:t>  DATA </a:t>
              </a:r>
              <a:r>
                <a:rPr lang="en-US" sz="800" kern="1200" err="1">
                  <a:solidFill>
                    <a:schemeClr val="bg1">
                      <a:lumMod val="50000"/>
                    </a:schemeClr>
                  </a:solidFill>
                  <a:latin typeface="Calibri"/>
                  <a:ea typeface="+mn-ea"/>
                  <a:cs typeface="Calibri"/>
                  <a:sym typeface="Wingdings"/>
                </a:rPr>
                <a:t>CoE</a:t>
              </a:r>
              <a:endParaRPr lang="en-US" sz="80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endParaRPr>
            </a:p>
          </p:txBody>
        </p:sp>
        <p:sp>
          <p:nvSpPr>
            <p:cNvPr id="10" name="Rectangle 3">
              <a:extLst>
                <a:ext uri="{FF2B5EF4-FFF2-40B4-BE49-F238E27FC236}">
                  <a16:creationId xmlns:a16="http://schemas.microsoft.com/office/drawing/2014/main" id="{683F5A2D-5355-446F-84E3-AEB05FFFD53D}"/>
                </a:ext>
              </a:extLst>
            </p:cNvPr>
            <p:cNvSpPr/>
            <p:nvPr userDrawn="1"/>
          </p:nvSpPr>
          <p:spPr>
            <a:xfrm>
              <a:off x="7609684" y="5384440"/>
              <a:ext cx="1138750" cy="18466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s-ES_tradnl" sz="600">
                  <a:solidFill>
                    <a:schemeClr val="bg1">
                      <a:lumMod val="50000"/>
                    </a:schemeClr>
                  </a:solidFill>
                </a:rPr>
                <a:t>© 2023 BCP. Todos los derechos reservad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585458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contenido 10"/>
          <p:cNvSpPr>
            <a:spLocks noGrp="1"/>
          </p:cNvSpPr>
          <p:nvPr>
            <p:ph sz="quarter" idx="11"/>
          </p:nvPr>
        </p:nvSpPr>
        <p:spPr>
          <a:xfrm>
            <a:off x="995363" y="1112838"/>
            <a:ext cx="10680700" cy="5154612"/>
          </a:xfrm>
          <a:noFill/>
        </p:spPr>
        <p:txBody>
          <a:bodyPr>
            <a:normAutofit/>
          </a:bodyPr>
          <a:lstStyle>
            <a:lvl1pPr>
              <a:defRPr sz="1800">
                <a:latin typeface="Tw Cen MT" panose="020B0602020104020603" pitchFamily="34" charset="0"/>
              </a:defRPr>
            </a:lvl1pPr>
            <a:lvl2pPr>
              <a:defRPr sz="1800">
                <a:latin typeface="Tw Cen MT" panose="020B0602020104020603" pitchFamily="34" charset="0"/>
              </a:defRPr>
            </a:lvl2pPr>
            <a:lvl3pPr>
              <a:defRPr sz="1800">
                <a:latin typeface="Tw Cen MT" panose="020B0602020104020603" pitchFamily="34" charset="0"/>
              </a:defRPr>
            </a:lvl3pPr>
            <a:lvl4pPr>
              <a:defRPr sz="1800">
                <a:latin typeface="Tw Cen MT" panose="020B0602020104020603" pitchFamily="34" charset="0"/>
              </a:defRPr>
            </a:lvl4pPr>
            <a:lvl5pPr>
              <a:defRPr sz="1800">
                <a:latin typeface="Tw Cen MT" panose="020B0602020104020603" pitchFamily="34" charset="0"/>
              </a:defRPr>
            </a:lvl5pPr>
          </a:lstStyle>
          <a:p>
            <a:pPr lvl="0"/>
            <a:r>
              <a:rPr lang="es-ES" noProof="0"/>
              <a:t>Edit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s-PE" noProof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D5A4907-2F30-4D15-B042-DE4F6A728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454" y="144785"/>
            <a:ext cx="10672293" cy="494191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>
                    <a:lumMod val="50000"/>
                  </a:schemeClr>
                </a:solidFill>
                <a:latin typeface="Tw Cen MT" panose="020B0602020104020603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cxnSp>
        <p:nvCxnSpPr>
          <p:cNvPr id="6" name="Straight Connector 47">
            <a:extLst>
              <a:ext uri="{FF2B5EF4-FFF2-40B4-BE49-F238E27FC236}">
                <a16:creationId xmlns:a16="http://schemas.microsoft.com/office/drawing/2014/main" id="{8EC70DEF-B4DB-414A-8DF3-628658BE760F}"/>
              </a:ext>
            </a:extLst>
          </p:cNvPr>
          <p:cNvCxnSpPr>
            <a:cxnSpLocks/>
          </p:cNvCxnSpPr>
          <p:nvPr userDrawn="1"/>
        </p:nvCxnSpPr>
        <p:spPr>
          <a:xfrm>
            <a:off x="995448" y="1030152"/>
            <a:ext cx="10680300" cy="0"/>
          </a:xfrm>
          <a:prstGeom prst="line">
            <a:avLst/>
          </a:prstGeom>
          <a:noFill/>
          <a:ln w="25400" cap="flat" cmpd="sng" algn="ctr">
            <a:solidFill>
              <a:srgbClr val="004A8F"/>
            </a:solidFill>
            <a:prstDash val="solid"/>
          </a:ln>
          <a:effectLst/>
        </p:spPr>
      </p:cxnSp>
      <p:sp>
        <p:nvSpPr>
          <p:cNvPr id="8" name="Marcador de contenido 7"/>
          <p:cNvSpPr>
            <a:spLocks noGrp="1"/>
          </p:cNvSpPr>
          <p:nvPr>
            <p:ph sz="quarter" idx="10"/>
          </p:nvPr>
        </p:nvSpPr>
        <p:spPr>
          <a:xfrm>
            <a:off x="1003299" y="672814"/>
            <a:ext cx="8639277" cy="390525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rgbClr val="002060"/>
                </a:solidFill>
                <a:latin typeface="Tw Cen MT" panose="020B0602020104020603" pitchFamily="34" charset="0"/>
              </a:defRPr>
            </a:lvl1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3" name="Marcador de contenido 7">
            <a:extLst>
              <a:ext uri="{FF2B5EF4-FFF2-40B4-BE49-F238E27FC236}">
                <a16:creationId xmlns:a16="http://schemas.microsoft.com/office/drawing/2014/main" id="{5FA01D15-E744-AFE4-D76B-8787E1EA9C0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9743090" y="675542"/>
            <a:ext cx="1940510" cy="390525"/>
          </a:xfrm>
        </p:spPr>
        <p:txBody>
          <a:bodyPr>
            <a:noAutofit/>
          </a:bodyPr>
          <a:lstStyle>
            <a:lvl1pPr marL="0" indent="0" algn="r">
              <a:buNone/>
              <a:defRPr sz="1100" b="1">
                <a:solidFill>
                  <a:srgbClr val="002060"/>
                </a:solidFill>
                <a:latin typeface="Tw Cen MT" panose="020B0602020104020603" pitchFamily="34" charset="0"/>
              </a:defRPr>
            </a:lvl1pPr>
          </a:lstStyle>
          <a:p>
            <a:pPr lvl="0"/>
            <a:r>
              <a:rPr lang="es-ES"/>
              <a:t>Edit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53606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8330909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65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15C8C78C-7F33-4A6B-87A1-75A5656AD06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639396" y="1240193"/>
            <a:ext cx="6552605" cy="4368338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 userDrawn="1"/>
        </p:nvSpPr>
        <p:spPr>
          <a:xfrm>
            <a:off x="0" y="1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 userDrawn="1"/>
        </p:nvSpPr>
        <p:spPr bwMode="auto">
          <a:xfrm>
            <a:off x="3846979" y="469226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n-US" sz="1837"/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 userDrawn="1"/>
        </p:nvSpPr>
        <p:spPr>
          <a:xfrm>
            <a:off x="3853924" y="1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37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 userDrawn="1"/>
        </p:nvSpPr>
        <p:spPr bwMode="auto">
          <a:xfrm>
            <a:off x="3853923" y="754087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837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 userDrawn="1"/>
        </p:nvGrpSpPr>
        <p:grpSpPr>
          <a:xfrm>
            <a:off x="4754601" y="922324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/>
            </a:p>
          </p:txBody>
        </p:sp>
      </p:grpSp>
      <p:pic>
        <p:nvPicPr>
          <p:cNvPr id="145" name="Picture 144">
            <a:extLst>
              <a:ext uri="{FF2B5EF4-FFF2-40B4-BE49-F238E27FC236}">
                <a16:creationId xmlns:a16="http://schemas.microsoft.com/office/drawing/2014/main" id="{1C1D061B-23AF-46A0-9322-57E283404A7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5024" t="39512" r="19274" b="50000"/>
          <a:stretch>
            <a:fillRect/>
          </a:stretch>
        </p:blipFill>
        <p:spPr>
          <a:xfrm>
            <a:off x="4027845" y="0"/>
            <a:ext cx="2349744" cy="575048"/>
          </a:xfrm>
          <a:custGeom>
            <a:avLst/>
            <a:gdLst>
              <a:gd name="connsiteX0" fmla="*/ 0 w 2302933"/>
              <a:gd name="connsiteY0" fmla="*/ 0 h 563600"/>
              <a:gd name="connsiteX1" fmla="*/ 2103664 w 2302933"/>
              <a:gd name="connsiteY1" fmla="*/ 0 h 563600"/>
              <a:gd name="connsiteX2" fmla="*/ 2302933 w 2302933"/>
              <a:gd name="connsiteY2" fmla="*/ 563600 h 563600"/>
              <a:gd name="connsiteX3" fmla="*/ 199269 w 2302933"/>
              <a:gd name="connsiteY3" fmla="*/ 563600 h 563600"/>
              <a:gd name="connsiteX4" fmla="*/ 0 w 2302933"/>
              <a:gd name="connsiteY4" fmla="*/ 0 h 5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2933" h="563600">
                <a:moveTo>
                  <a:pt x="0" y="0"/>
                </a:moveTo>
                <a:lnTo>
                  <a:pt x="2103664" y="0"/>
                </a:lnTo>
                <a:lnTo>
                  <a:pt x="2302933" y="563600"/>
                </a:lnTo>
                <a:lnTo>
                  <a:pt x="199269" y="563600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30885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O" sz="3265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7C797C-09E0-4702-B415-DC7ECB31012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02" b="23134"/>
          <a:stretch/>
        </p:blipFill>
        <p:spPr>
          <a:xfrm>
            <a:off x="5565985" y="997226"/>
            <a:ext cx="6626016" cy="4876745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0" y="2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80" y="469227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5" tIns="46649" rIns="93295" bIns="46649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s-CO" sz="1837" dirty="0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s-CO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70404" y="4921473"/>
            <a:ext cx="481493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CO" sz="1428" baseline="0" noProof="0" dirty="0" err="1">
                <a:solidFill>
                  <a:schemeClr val="accent4"/>
                </a:solidFill>
                <a:latin typeface="+mn-lt"/>
              </a:rPr>
              <a:t>Document</a:t>
            </a:r>
            <a:r>
              <a:rPr lang="es-CO" sz="1428" baseline="0" noProof="0" dirty="0">
                <a:solidFill>
                  <a:schemeClr val="accent4"/>
                </a:solidFill>
                <a:latin typeface="+mn-lt"/>
              </a:rPr>
              <a:t> </a:t>
            </a:r>
            <a:r>
              <a:rPr lang="es-CO" sz="1428" baseline="0" noProof="0" dirty="0" err="1">
                <a:solidFill>
                  <a:schemeClr val="accent4"/>
                </a:solidFill>
                <a:latin typeface="+mn-lt"/>
              </a:rPr>
              <a:t>type</a:t>
            </a:r>
            <a:r>
              <a:rPr lang="es-CO" sz="1428" baseline="0" noProof="0" dirty="0">
                <a:solidFill>
                  <a:schemeClr val="accent4"/>
                </a:solidFill>
                <a:latin typeface="+mn-lt"/>
              </a:rPr>
              <a:t>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3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86" eaLnBrk="0" hangingPunct="0"/>
            <a:r>
              <a:rPr lang="es-CO" sz="816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86" eaLnBrk="0" hangingPunct="0"/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Any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use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this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material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without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specific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permission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McKinsey &amp; Company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is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strictly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prohibited</a:t>
            </a:r>
            <a:endParaRPr lang="es-CO" sz="816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5" y="2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4A0DA11-94E0-4542-8DAA-020EDC8AC6C9}"/>
              </a:ext>
            </a:extLst>
          </p:cNvPr>
          <p:cNvSpPr>
            <a:spLocks/>
          </p:cNvSpPr>
          <p:nvPr/>
        </p:nvSpPr>
        <p:spPr>
          <a:xfrm>
            <a:off x="5810983" y="5521367"/>
            <a:ext cx="2874851" cy="1336633"/>
          </a:xfrm>
          <a:custGeom>
            <a:avLst/>
            <a:gdLst>
              <a:gd name="connsiteX0" fmla="*/ 0 w 2817579"/>
              <a:gd name="connsiteY0" fmla="*/ 0 h 1310024"/>
              <a:gd name="connsiteX1" fmla="*/ 2354400 w 2817579"/>
              <a:gd name="connsiteY1" fmla="*/ 0 h 1310024"/>
              <a:gd name="connsiteX2" fmla="*/ 2358072 w 2817579"/>
              <a:gd name="connsiteY2" fmla="*/ 0 h 1310024"/>
              <a:gd name="connsiteX3" fmla="*/ 2358072 w 2817579"/>
              <a:gd name="connsiteY3" fmla="*/ 10386 h 1310024"/>
              <a:gd name="connsiteX4" fmla="*/ 2817579 w 2817579"/>
              <a:gd name="connsiteY4" fmla="*/ 1310024 h 1310024"/>
              <a:gd name="connsiteX5" fmla="*/ 459508 w 2817579"/>
              <a:gd name="connsiteY5" fmla="*/ 1310024 h 1310024"/>
              <a:gd name="connsiteX6" fmla="*/ 0 w 2817579"/>
              <a:gd name="connsiteY6" fmla="*/ 10386 h 1310024"/>
              <a:gd name="connsiteX7" fmla="*/ 0 w 2817579"/>
              <a:gd name="connsiteY7" fmla="*/ 0 h 1310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17579" h="1310024">
                <a:moveTo>
                  <a:pt x="0" y="0"/>
                </a:moveTo>
                <a:lnTo>
                  <a:pt x="2354400" y="0"/>
                </a:lnTo>
                <a:lnTo>
                  <a:pt x="2358072" y="0"/>
                </a:lnTo>
                <a:lnTo>
                  <a:pt x="2358072" y="10386"/>
                </a:lnTo>
                <a:lnTo>
                  <a:pt x="2817579" y="1310024"/>
                </a:lnTo>
                <a:lnTo>
                  <a:pt x="459508" y="1310024"/>
                </a:lnTo>
                <a:lnTo>
                  <a:pt x="0" y="103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18900000" algn="b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8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5" tIns="46649" rIns="93295" bIns="46649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s-CO" sz="1837" dirty="0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265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s-CO" noProof="0" dirty="0" err="1"/>
              <a:t>Click</a:t>
            </a:r>
            <a:r>
              <a:rPr lang="es-CO" noProof="0" dirty="0"/>
              <a:t> </a:t>
            </a:r>
            <a:r>
              <a:rPr lang="es-CO" noProof="0" dirty="0" err="1"/>
              <a:t>to</a:t>
            </a:r>
            <a:r>
              <a:rPr lang="es-CO" noProof="0" dirty="0"/>
              <a:t> </a:t>
            </a:r>
            <a:r>
              <a:rPr lang="es-CO" noProof="0" dirty="0" err="1"/>
              <a:t>edit</a:t>
            </a:r>
            <a:r>
              <a:rPr lang="es-CO" noProof="0" dirty="0"/>
              <a:t> Master </a:t>
            </a:r>
            <a:r>
              <a:rPr lang="es-CO" noProof="0" dirty="0" err="1"/>
              <a:t>title</a:t>
            </a:r>
            <a:r>
              <a:rPr lang="es-CO" noProof="0" dirty="0"/>
              <a:t> </a:t>
            </a:r>
            <a:r>
              <a:rPr lang="es-CO" noProof="0" dirty="0" err="1"/>
              <a:t>style</a:t>
            </a:r>
            <a:endParaRPr lang="es-CO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all" baseline="0">
                <a:solidFill>
                  <a:schemeClr val="accent4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s-CO" noProof="0" dirty="0" err="1"/>
              <a:t>Click</a:t>
            </a:r>
            <a:r>
              <a:rPr lang="es-CO" noProof="0" dirty="0"/>
              <a:t> </a:t>
            </a:r>
            <a:r>
              <a:rPr lang="es-CO" noProof="0" dirty="0" err="1"/>
              <a:t>to</a:t>
            </a:r>
            <a:r>
              <a:rPr lang="es-CO" noProof="0" dirty="0"/>
              <a:t> </a:t>
            </a:r>
            <a:r>
              <a:rPr lang="es-CO" noProof="0" dirty="0" err="1"/>
              <a:t>edit</a:t>
            </a:r>
            <a:r>
              <a:rPr lang="es-CO" noProof="0" dirty="0"/>
              <a:t> Master </a:t>
            </a:r>
            <a:r>
              <a:rPr lang="es-CO" noProof="0" dirty="0" err="1"/>
              <a:t>subtitle</a:t>
            </a:r>
            <a:r>
              <a:rPr lang="es-CO" noProof="0" dirty="0"/>
              <a:t> </a:t>
            </a:r>
            <a:r>
              <a:rPr lang="es-CO" noProof="0" dirty="0" err="1"/>
              <a:t>style</a:t>
            </a:r>
            <a:endParaRPr lang="es-CO" noProof="0" dirty="0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2" y="922325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562C820-CEB3-4AFD-B479-ED0141E3E705}"/>
              </a:ext>
            </a:extLst>
          </p:cNvPr>
          <p:cNvCxnSpPr>
            <a:cxnSpLocks/>
            <a:stCxn id="117" idx="0"/>
            <a:endCxn id="117" idx="3"/>
          </p:cNvCxnSpPr>
          <p:nvPr/>
        </p:nvCxnSpPr>
        <p:spPr>
          <a:xfrm>
            <a:off x="3853923" y="754088"/>
            <a:ext cx="433423" cy="118244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FAA0926-482B-4801-9155-BC0A4B20820A}"/>
              </a:ext>
            </a:extLst>
          </p:cNvPr>
          <p:cNvCxnSpPr>
            <a:cxnSpLocks/>
            <a:endCxn id="117" idx="3"/>
          </p:cNvCxnSpPr>
          <p:nvPr/>
        </p:nvCxnSpPr>
        <p:spPr>
          <a:xfrm flipH="1">
            <a:off x="4287347" y="1936526"/>
            <a:ext cx="441077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767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O" sz="3265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15C8C78C-7F33-4A6B-87A1-75A5656AD06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639397" y="1240193"/>
            <a:ext cx="6552605" cy="4368338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0" y="2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80" y="469227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5" tIns="46649" rIns="93295" bIns="46649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s-CO" sz="1837" dirty="0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s-CO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3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86" eaLnBrk="0" hangingPunct="0"/>
            <a:r>
              <a:rPr lang="es-CO" sz="816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86" eaLnBrk="0" hangingPunct="0"/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Any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use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this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material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without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specific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permission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McKinsey &amp; Company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is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strictly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prohibited</a:t>
            </a:r>
            <a:endParaRPr lang="es-CO" sz="816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5" y="2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s-CO" noProof="0" dirty="0" err="1"/>
              <a:t>Click</a:t>
            </a:r>
            <a:r>
              <a:rPr lang="es-CO" noProof="0" dirty="0"/>
              <a:t> </a:t>
            </a:r>
            <a:r>
              <a:rPr lang="es-CO" noProof="0" dirty="0" err="1"/>
              <a:t>to</a:t>
            </a:r>
            <a:r>
              <a:rPr lang="es-CO" noProof="0" dirty="0"/>
              <a:t> </a:t>
            </a:r>
            <a:r>
              <a:rPr lang="es-CO" noProof="0" dirty="0" err="1"/>
              <a:t>edit</a:t>
            </a:r>
            <a:r>
              <a:rPr lang="es-CO" noProof="0" dirty="0"/>
              <a:t> Master </a:t>
            </a:r>
            <a:r>
              <a:rPr lang="es-CO" noProof="0" dirty="0" err="1"/>
              <a:t>title</a:t>
            </a:r>
            <a:r>
              <a:rPr lang="es-CO" noProof="0" dirty="0"/>
              <a:t> </a:t>
            </a:r>
            <a:r>
              <a:rPr lang="es-CO" noProof="0" dirty="0" err="1"/>
              <a:t>style</a:t>
            </a:r>
            <a:endParaRPr lang="es-CO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s-CO" noProof="0" dirty="0" err="1"/>
              <a:t>Click</a:t>
            </a:r>
            <a:r>
              <a:rPr lang="es-CO" noProof="0" dirty="0"/>
              <a:t> </a:t>
            </a:r>
            <a:r>
              <a:rPr lang="es-CO" noProof="0" dirty="0" err="1"/>
              <a:t>to</a:t>
            </a:r>
            <a:r>
              <a:rPr lang="es-CO" noProof="0" dirty="0"/>
              <a:t> </a:t>
            </a:r>
            <a:r>
              <a:rPr lang="es-CO" noProof="0" dirty="0" err="1"/>
              <a:t>edit</a:t>
            </a:r>
            <a:r>
              <a:rPr lang="es-CO" noProof="0" dirty="0"/>
              <a:t> Master </a:t>
            </a:r>
            <a:r>
              <a:rPr lang="es-CO" noProof="0" dirty="0" err="1"/>
              <a:t>subtitle</a:t>
            </a:r>
            <a:r>
              <a:rPr lang="es-CO" noProof="0" dirty="0"/>
              <a:t> </a:t>
            </a:r>
            <a:r>
              <a:rPr lang="es-CO" noProof="0" dirty="0" err="1"/>
              <a:t>style</a:t>
            </a:r>
            <a:endParaRPr lang="es-CO" noProof="0" dirty="0"/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8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5" tIns="46649" rIns="93295" bIns="46649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s-CO" sz="1837" dirty="0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2" y="922325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</p:grpSp>
      <p:pic>
        <p:nvPicPr>
          <p:cNvPr id="145" name="Picture 144">
            <a:extLst>
              <a:ext uri="{FF2B5EF4-FFF2-40B4-BE49-F238E27FC236}">
                <a16:creationId xmlns:a16="http://schemas.microsoft.com/office/drawing/2014/main" id="{1C1D061B-23AF-46A0-9322-57E283404A76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5024" t="39512" r="19274" b="50000"/>
          <a:stretch>
            <a:fillRect/>
          </a:stretch>
        </p:blipFill>
        <p:spPr>
          <a:xfrm>
            <a:off x="4027846" y="0"/>
            <a:ext cx="2349744" cy="575048"/>
          </a:xfrm>
          <a:custGeom>
            <a:avLst/>
            <a:gdLst>
              <a:gd name="connsiteX0" fmla="*/ 0 w 2302933"/>
              <a:gd name="connsiteY0" fmla="*/ 0 h 563600"/>
              <a:gd name="connsiteX1" fmla="*/ 2103664 w 2302933"/>
              <a:gd name="connsiteY1" fmla="*/ 0 h 563600"/>
              <a:gd name="connsiteX2" fmla="*/ 2302933 w 2302933"/>
              <a:gd name="connsiteY2" fmla="*/ 563600 h 563600"/>
              <a:gd name="connsiteX3" fmla="*/ 199269 w 2302933"/>
              <a:gd name="connsiteY3" fmla="*/ 563600 h 563600"/>
              <a:gd name="connsiteX4" fmla="*/ 0 w 2302933"/>
              <a:gd name="connsiteY4" fmla="*/ 0 h 5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2933" h="563600">
                <a:moveTo>
                  <a:pt x="0" y="0"/>
                </a:moveTo>
                <a:lnTo>
                  <a:pt x="2103664" y="0"/>
                </a:lnTo>
                <a:lnTo>
                  <a:pt x="2302933" y="563600"/>
                </a:lnTo>
                <a:lnTo>
                  <a:pt x="199269" y="563600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513852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4555813-23C1-4056-A82C-ECA4EE09A1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O" sz="3265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954" name="Picture 546" descr="https://www.bcp.com.bo/Content/images/Otros/imagen001.jpg">
            <a:extLst>
              <a:ext uri="{FF2B5EF4-FFF2-40B4-BE49-F238E27FC236}">
                <a16:creationId xmlns:a16="http://schemas.microsoft.com/office/drawing/2014/main" id="{3EA97854-121E-4682-AC9F-6396B15824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615"/>
          <a:stretch/>
        </p:blipFill>
        <p:spPr bwMode="auto">
          <a:xfrm>
            <a:off x="4409560" y="984027"/>
            <a:ext cx="7782440" cy="488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FB924BC-3D43-4053-B8E9-A99009983F09}"/>
              </a:ext>
            </a:extLst>
          </p:cNvPr>
          <p:cNvSpPr>
            <a:spLocks/>
          </p:cNvSpPr>
          <p:nvPr/>
        </p:nvSpPr>
        <p:spPr>
          <a:xfrm>
            <a:off x="0" y="2"/>
            <a:ext cx="7276872" cy="6858000"/>
          </a:xfrm>
          <a:custGeom>
            <a:avLst/>
            <a:gdLst>
              <a:gd name="connsiteX0" fmla="*/ 0 w 7131903"/>
              <a:gd name="connsiteY0" fmla="*/ 0 h 6721475"/>
              <a:gd name="connsiteX1" fmla="*/ 1888573 w 7131903"/>
              <a:gd name="connsiteY1" fmla="*/ 0 h 6721475"/>
              <a:gd name="connsiteX2" fmla="*/ 2866850 w 7131903"/>
              <a:gd name="connsiteY2" fmla="*/ 0 h 6721475"/>
              <a:gd name="connsiteX3" fmla="*/ 2870522 w 7131903"/>
              <a:gd name="connsiteY3" fmla="*/ 0 h 6721475"/>
              <a:gd name="connsiteX4" fmla="*/ 4755423 w 7131903"/>
              <a:gd name="connsiteY4" fmla="*/ 0 h 6721475"/>
              <a:gd name="connsiteX5" fmla="*/ 4759095 w 7131903"/>
              <a:gd name="connsiteY5" fmla="*/ 0 h 6721475"/>
              <a:gd name="connsiteX6" fmla="*/ 4759095 w 7131903"/>
              <a:gd name="connsiteY6" fmla="*/ 10386 h 6721475"/>
              <a:gd name="connsiteX7" fmla="*/ 7131903 w 7131903"/>
              <a:gd name="connsiteY7" fmla="*/ 6721475 h 6721475"/>
              <a:gd name="connsiteX8" fmla="*/ 5243330 w 7131903"/>
              <a:gd name="connsiteY8" fmla="*/ 6721475 h 6721475"/>
              <a:gd name="connsiteX9" fmla="*/ 1888573 w 7131903"/>
              <a:gd name="connsiteY9" fmla="*/ 6721475 h 6721475"/>
              <a:gd name="connsiteX10" fmla="*/ 0 w 7131903"/>
              <a:gd name="connsiteY1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31903" h="6721475">
                <a:moveTo>
                  <a:pt x="0" y="0"/>
                </a:move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4755423" y="0"/>
                </a:lnTo>
                <a:lnTo>
                  <a:pt x="4759095" y="0"/>
                </a:lnTo>
                <a:lnTo>
                  <a:pt x="4759095" y="10386"/>
                </a:lnTo>
                <a:lnTo>
                  <a:pt x="7131903" y="6721475"/>
                </a:lnTo>
                <a:lnTo>
                  <a:pt x="5243330" y="6721475"/>
                </a:lnTo>
                <a:lnTo>
                  <a:pt x="1888573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13359" name="Freeform 525">
            <a:extLst>
              <a:ext uri="{FF2B5EF4-FFF2-40B4-BE49-F238E27FC236}">
                <a16:creationId xmlns:a16="http://schemas.microsoft.com/office/drawing/2014/main" id="{31020CF6-0AFB-420D-850D-081635436983}"/>
              </a:ext>
            </a:extLst>
          </p:cNvPr>
          <p:cNvSpPr>
            <a:spLocks/>
          </p:cNvSpPr>
          <p:nvPr/>
        </p:nvSpPr>
        <p:spPr bwMode="auto">
          <a:xfrm>
            <a:off x="3846980" y="469227"/>
            <a:ext cx="656921" cy="402361"/>
          </a:xfrm>
          <a:custGeom>
            <a:avLst/>
            <a:gdLst>
              <a:gd name="T0" fmla="*/ 0 w 80"/>
              <a:gd name="T1" fmla="*/ 35 h 49"/>
              <a:gd name="T2" fmla="*/ 50 w 80"/>
              <a:gd name="T3" fmla="*/ 0 h 49"/>
              <a:gd name="T4" fmla="*/ 80 w 80"/>
              <a:gd name="T5" fmla="*/ 49 h 49"/>
              <a:gd name="T6" fmla="*/ 0 w 80"/>
              <a:gd name="T7" fmla="*/ 35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49">
                <a:moveTo>
                  <a:pt x="0" y="35"/>
                </a:moveTo>
                <a:lnTo>
                  <a:pt x="50" y="0"/>
                </a:lnTo>
                <a:lnTo>
                  <a:pt x="80" y="49"/>
                </a:lnTo>
                <a:lnTo>
                  <a:pt x="0" y="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5" tIns="46649" rIns="93295" bIns="46649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s-CO" sz="1837" dirty="0"/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s-CO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70404" y="4921473"/>
            <a:ext cx="481493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CO" sz="1428" baseline="0" noProof="0" dirty="0" err="1">
                <a:solidFill>
                  <a:schemeClr val="bg1"/>
                </a:solidFill>
                <a:latin typeface="+mn-lt"/>
              </a:rPr>
              <a:t>Document</a:t>
            </a:r>
            <a:r>
              <a:rPr lang="es-CO" sz="1428" baseline="0" noProof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1428" baseline="0" noProof="0" dirty="0" err="1">
                <a:solidFill>
                  <a:schemeClr val="bg1"/>
                </a:solidFill>
                <a:latin typeface="+mn-lt"/>
              </a:rPr>
              <a:t>type</a:t>
            </a:r>
            <a:r>
              <a:rPr lang="es-CO" sz="1428" baseline="0" noProof="0" dirty="0">
                <a:solidFill>
                  <a:schemeClr val="bg1"/>
                </a:solidFill>
                <a:latin typeface="+mn-lt"/>
              </a:rPr>
              <a:t>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3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86" eaLnBrk="0" hangingPunct="0"/>
            <a:r>
              <a:rPr lang="es-CO" sz="816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86" eaLnBrk="0" hangingPunct="0"/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Any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use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this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material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without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specific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permission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of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McKinsey &amp; Company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is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strictly</a:t>
            </a:r>
            <a:r>
              <a:rPr lang="es-CO" sz="816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CO" sz="816" baseline="0" dirty="0" err="1">
                <a:solidFill>
                  <a:schemeClr val="bg1"/>
                </a:solidFill>
                <a:latin typeface="+mn-lt"/>
              </a:rPr>
              <a:t>prohibited</a:t>
            </a:r>
            <a:endParaRPr lang="es-CO" sz="816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E23C45C-F9C3-4F73-A5F3-97FF2E183225}"/>
              </a:ext>
            </a:extLst>
          </p:cNvPr>
          <p:cNvSpPr>
            <a:spLocks/>
          </p:cNvSpPr>
          <p:nvPr/>
        </p:nvSpPr>
        <p:spPr>
          <a:xfrm>
            <a:off x="3853925" y="2"/>
            <a:ext cx="3161516" cy="2136809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68F6781-56A0-43F1-A5CE-A7A1FA08FECD}"/>
              </a:ext>
            </a:extLst>
          </p:cNvPr>
          <p:cNvSpPr>
            <a:spLocks/>
          </p:cNvSpPr>
          <p:nvPr/>
        </p:nvSpPr>
        <p:spPr>
          <a:xfrm>
            <a:off x="5549498" y="4721191"/>
            <a:ext cx="3157771" cy="2136809"/>
          </a:xfrm>
          <a:custGeom>
            <a:avLst/>
            <a:gdLst>
              <a:gd name="connsiteX0" fmla="*/ 0 w 3094862"/>
              <a:gd name="connsiteY0" fmla="*/ 0 h 2094271"/>
              <a:gd name="connsiteX1" fmla="*/ 2354400 w 3094862"/>
              <a:gd name="connsiteY1" fmla="*/ 0 h 2094271"/>
              <a:gd name="connsiteX2" fmla="*/ 2358072 w 3094862"/>
              <a:gd name="connsiteY2" fmla="*/ 0 h 2094271"/>
              <a:gd name="connsiteX3" fmla="*/ 2358072 w 3094862"/>
              <a:gd name="connsiteY3" fmla="*/ 10386 h 2094271"/>
              <a:gd name="connsiteX4" fmla="*/ 3094862 w 3094862"/>
              <a:gd name="connsiteY4" fmla="*/ 2094271 h 2094271"/>
              <a:gd name="connsiteX5" fmla="*/ 736790 w 3094862"/>
              <a:gd name="connsiteY5" fmla="*/ 2094271 h 2094271"/>
              <a:gd name="connsiteX6" fmla="*/ 0 w 3094862"/>
              <a:gd name="connsiteY6" fmla="*/ 10386 h 2094271"/>
              <a:gd name="connsiteX7" fmla="*/ 0 w 3094862"/>
              <a:gd name="connsiteY7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94862" h="2094271">
                <a:moveTo>
                  <a:pt x="0" y="0"/>
                </a:moveTo>
                <a:lnTo>
                  <a:pt x="2354400" y="0"/>
                </a:lnTo>
                <a:lnTo>
                  <a:pt x="2358072" y="0"/>
                </a:lnTo>
                <a:lnTo>
                  <a:pt x="2358072" y="10386"/>
                </a:lnTo>
                <a:lnTo>
                  <a:pt x="3094862" y="2094271"/>
                </a:lnTo>
                <a:lnTo>
                  <a:pt x="736790" y="2094271"/>
                </a:lnTo>
                <a:lnTo>
                  <a:pt x="0" y="103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  <a:effectLst>
            <a:outerShdw blurRad="50800" dist="38100" dir="18900000" algn="b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F27055F-8EDB-41CE-BD05-A731838DC36C}"/>
              </a:ext>
            </a:extLst>
          </p:cNvPr>
          <p:cNvSpPr>
            <a:spLocks/>
          </p:cNvSpPr>
          <p:nvPr/>
        </p:nvSpPr>
        <p:spPr bwMode="auto">
          <a:xfrm>
            <a:off x="3853923" y="754088"/>
            <a:ext cx="4844201" cy="1182440"/>
          </a:xfrm>
          <a:custGeom>
            <a:avLst/>
            <a:gdLst>
              <a:gd name="connsiteX0" fmla="*/ 0 w 4747696"/>
              <a:gd name="connsiteY0" fmla="*/ 0 h 1158901"/>
              <a:gd name="connsiteX1" fmla="*/ 4337949 w 4747696"/>
              <a:gd name="connsiteY1" fmla="*/ 0 h 1158901"/>
              <a:gd name="connsiteX2" fmla="*/ 4747696 w 4747696"/>
              <a:gd name="connsiteY2" fmla="*/ 1158901 h 1158901"/>
              <a:gd name="connsiteX3" fmla="*/ 424788 w 4747696"/>
              <a:gd name="connsiteY3" fmla="*/ 1158901 h 1158901"/>
              <a:gd name="connsiteX4" fmla="*/ 385112 w 4747696"/>
              <a:gd name="connsiteY4" fmla="*/ 1089227 h 1158901"/>
              <a:gd name="connsiteX5" fmla="*/ 0 w 4747696"/>
              <a:gd name="connsiteY5" fmla="*/ 0 h 115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7696" h="1158901">
                <a:moveTo>
                  <a:pt x="0" y="0"/>
                </a:moveTo>
                <a:lnTo>
                  <a:pt x="4337949" y="0"/>
                </a:lnTo>
                <a:lnTo>
                  <a:pt x="4747696" y="1158901"/>
                </a:lnTo>
                <a:lnTo>
                  <a:pt x="424788" y="1158901"/>
                </a:lnTo>
                <a:lnTo>
                  <a:pt x="385112" y="108922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76200" dir="18900000" algn="bl" rotWithShape="0">
              <a:prstClr val="black">
                <a:alpha val="10000"/>
              </a:prstClr>
            </a:outerShdw>
          </a:effectLst>
        </p:spPr>
        <p:txBody>
          <a:bodyPr vert="horz" wrap="square" lIns="93295" tIns="46649" rIns="93295" bIns="46649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s-CO" sz="1837" dirty="0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70404" y="3026696"/>
            <a:ext cx="4814938" cy="100489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s-CO" noProof="0" dirty="0" err="1"/>
              <a:t>Click</a:t>
            </a:r>
            <a:r>
              <a:rPr lang="es-CO" noProof="0" dirty="0"/>
              <a:t> </a:t>
            </a:r>
            <a:r>
              <a:rPr lang="es-CO" noProof="0" dirty="0" err="1"/>
              <a:t>to</a:t>
            </a:r>
            <a:r>
              <a:rPr lang="es-CO" noProof="0" dirty="0"/>
              <a:t> </a:t>
            </a:r>
            <a:r>
              <a:rPr lang="es-CO" noProof="0" dirty="0" err="1"/>
              <a:t>edit</a:t>
            </a:r>
            <a:r>
              <a:rPr lang="es-CO" noProof="0" dirty="0"/>
              <a:t> Master </a:t>
            </a:r>
            <a:r>
              <a:rPr lang="es-CO" noProof="0" dirty="0" err="1"/>
              <a:t>title</a:t>
            </a:r>
            <a:r>
              <a:rPr lang="es-CO" noProof="0" dirty="0"/>
              <a:t> </a:t>
            </a:r>
            <a:r>
              <a:rPr lang="es-CO" noProof="0" dirty="0" err="1"/>
              <a:t>style</a:t>
            </a:r>
            <a:endParaRPr lang="es-CO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0404" y="4567884"/>
            <a:ext cx="481493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s-CO" noProof="0" dirty="0" err="1"/>
              <a:t>Click</a:t>
            </a:r>
            <a:r>
              <a:rPr lang="es-CO" noProof="0" dirty="0"/>
              <a:t> </a:t>
            </a:r>
            <a:r>
              <a:rPr lang="es-CO" noProof="0" dirty="0" err="1"/>
              <a:t>to</a:t>
            </a:r>
            <a:r>
              <a:rPr lang="es-CO" noProof="0" dirty="0"/>
              <a:t> </a:t>
            </a:r>
            <a:r>
              <a:rPr lang="es-CO" noProof="0" dirty="0" err="1"/>
              <a:t>edit</a:t>
            </a:r>
            <a:r>
              <a:rPr lang="es-CO" noProof="0" dirty="0"/>
              <a:t> Master </a:t>
            </a:r>
            <a:r>
              <a:rPr lang="es-CO" noProof="0" dirty="0" err="1"/>
              <a:t>subtitle</a:t>
            </a:r>
            <a:r>
              <a:rPr lang="es-CO" noProof="0" dirty="0"/>
              <a:t> </a:t>
            </a:r>
            <a:r>
              <a:rPr lang="es-CO" noProof="0" dirty="0" err="1"/>
              <a:t>style</a:t>
            </a:r>
            <a:endParaRPr lang="es-CO" noProof="0" dirty="0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415401B-39C2-45BB-9B9D-112E4BAA33D4}"/>
              </a:ext>
            </a:extLst>
          </p:cNvPr>
          <p:cNvGrpSpPr/>
          <p:nvPr/>
        </p:nvGrpSpPr>
        <p:grpSpPr>
          <a:xfrm>
            <a:off x="4754602" y="922325"/>
            <a:ext cx="3165816" cy="845966"/>
            <a:chOff x="4797041" y="952089"/>
            <a:chExt cx="2281238" cy="609599"/>
          </a:xfrm>
        </p:grpSpPr>
        <p:sp>
          <p:nvSpPr>
            <p:cNvPr id="13374" name="Freeform 538">
              <a:extLst>
                <a:ext uri="{FF2B5EF4-FFF2-40B4-BE49-F238E27FC236}">
                  <a16:creationId xmlns:a16="http://schemas.microsoft.com/office/drawing/2014/main" id="{EBEA72CD-B776-4F0A-96DD-69873D503A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13375" name="Freeform 539">
              <a:extLst>
                <a:ext uri="{FF2B5EF4-FFF2-40B4-BE49-F238E27FC236}">
                  <a16:creationId xmlns:a16="http://schemas.microsoft.com/office/drawing/2014/main" id="{750C83A6-0C8D-4BCB-A31A-274FE60EAA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64" name="Freeform 540">
              <a:extLst>
                <a:ext uri="{FF2B5EF4-FFF2-40B4-BE49-F238E27FC236}">
                  <a16:creationId xmlns:a16="http://schemas.microsoft.com/office/drawing/2014/main" id="{4BA4A9B0-26CF-4C3B-BE3B-6DF501E1F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65" name="Freeform 541">
              <a:extLst>
                <a:ext uri="{FF2B5EF4-FFF2-40B4-BE49-F238E27FC236}">
                  <a16:creationId xmlns:a16="http://schemas.microsoft.com/office/drawing/2014/main" id="{6C936F90-3F08-43B1-984D-4729BA1BEB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66" name="Freeform 542">
              <a:extLst>
                <a:ext uri="{FF2B5EF4-FFF2-40B4-BE49-F238E27FC236}">
                  <a16:creationId xmlns:a16="http://schemas.microsoft.com/office/drawing/2014/main" id="{63F96CB0-F979-4623-8ACE-3D3A66A72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67" name="Freeform 543">
              <a:extLst>
                <a:ext uri="{FF2B5EF4-FFF2-40B4-BE49-F238E27FC236}">
                  <a16:creationId xmlns:a16="http://schemas.microsoft.com/office/drawing/2014/main" id="{848233D3-EBFF-4460-9906-1947AEB68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68" name="Freeform 544">
              <a:extLst>
                <a:ext uri="{FF2B5EF4-FFF2-40B4-BE49-F238E27FC236}">
                  <a16:creationId xmlns:a16="http://schemas.microsoft.com/office/drawing/2014/main" id="{E55A3751-15A3-4DCB-8259-180644F81E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</p:grpSp>
    </p:spTree>
    <p:extLst>
      <p:ext uri="{BB962C8B-B14F-4D97-AF65-F5344CB8AC3E}">
        <p14:creationId xmlns:p14="http://schemas.microsoft.com/office/powerpoint/2010/main" val="9784245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76F2CE-78A4-6964-D210-F21F3FCC9E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F26A8A4-FB4F-755D-9C64-BFEB858FBD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PE"/>
              <a:t>©2024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2284FFE-78F0-9ECD-FC68-2BFE8EE45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C14E2-BA02-4081-9AF4-CD0D27E2CEC7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956576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FF4EE-C08D-4120-B5AA-B1375348D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0" imgH="371" progId="TCLayout.ActiveDocument.1">
                  <p:embed/>
                </p:oleObj>
              </mc:Choice>
              <mc:Fallback>
                <p:oleObj name="think-cell Slide" r:id="rId4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FF4EE-C08D-4120-B5AA-B1375348D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48D8B1-87AA-4129-BBCF-ABCA62036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O" sz="2653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CO" dirty="0" err="1"/>
              <a:t>Click</a:t>
            </a:r>
            <a:r>
              <a:rPr lang="es-CO" dirty="0"/>
              <a:t> </a:t>
            </a:r>
            <a:r>
              <a:rPr lang="es-CO" dirty="0" err="1"/>
              <a:t>to</a:t>
            </a:r>
            <a:r>
              <a:rPr lang="es-CO" dirty="0"/>
              <a:t> </a:t>
            </a:r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itle</a:t>
            </a:r>
            <a:r>
              <a:rPr lang="es-CO" dirty="0"/>
              <a:t> </a:t>
            </a:r>
            <a:r>
              <a:rPr lang="es-CO" dirty="0" err="1"/>
              <a:t>style</a:t>
            </a:r>
            <a:endParaRPr lang="es-CO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7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0" eaLnBrk="1"/>
            <a:endParaRPr lang="es-CO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61199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6" imgH="386" progId="TCLayout.ActiveDocument.1">
                  <p:embed/>
                </p:oleObj>
              </mc:Choice>
              <mc:Fallback>
                <p:oleObj name="think-cell Slide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O" sz="2653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F81ED63-EF3B-478E-A45B-E7A1E767D03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4850" y="2"/>
            <a:ext cx="10287152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2F09DA5-2894-4EC1-9C90-665D9D6A5B9E}"/>
              </a:ext>
            </a:extLst>
          </p:cNvPr>
          <p:cNvSpPr>
            <a:spLocks/>
          </p:cNvSpPr>
          <p:nvPr/>
        </p:nvSpPr>
        <p:spPr>
          <a:xfrm>
            <a:off x="2" y="-1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72000">
                <a:schemeClr val="accent5"/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41A62CCF-F230-4083-B80D-8EFF998D4248}"/>
              </a:ext>
            </a:extLst>
          </p:cNvPr>
          <p:cNvSpPr>
            <a:spLocks/>
          </p:cNvSpPr>
          <p:nvPr/>
        </p:nvSpPr>
        <p:spPr>
          <a:xfrm>
            <a:off x="2" y="2"/>
            <a:ext cx="9111058" cy="6858000"/>
          </a:xfrm>
          <a:custGeom>
            <a:avLst/>
            <a:gdLst>
              <a:gd name="connsiteX0" fmla="*/ 0 w 8929549"/>
              <a:gd name="connsiteY0" fmla="*/ 0 h 6721475"/>
              <a:gd name="connsiteX1" fmla="*/ 1797646 w 8929549"/>
              <a:gd name="connsiteY1" fmla="*/ 0 h 6721475"/>
              <a:gd name="connsiteX2" fmla="*/ 1888573 w 8929549"/>
              <a:gd name="connsiteY2" fmla="*/ 0 h 6721475"/>
              <a:gd name="connsiteX3" fmla="*/ 2866850 w 8929549"/>
              <a:gd name="connsiteY3" fmla="*/ 0 h 6721475"/>
              <a:gd name="connsiteX4" fmla="*/ 2870522 w 8929549"/>
              <a:gd name="connsiteY4" fmla="*/ 0 h 6721475"/>
              <a:gd name="connsiteX5" fmla="*/ 3686219 w 8929549"/>
              <a:gd name="connsiteY5" fmla="*/ 0 h 6721475"/>
              <a:gd name="connsiteX6" fmla="*/ 4664496 w 8929549"/>
              <a:gd name="connsiteY6" fmla="*/ 0 h 6721475"/>
              <a:gd name="connsiteX7" fmla="*/ 4668168 w 8929549"/>
              <a:gd name="connsiteY7" fmla="*/ 0 h 6721475"/>
              <a:gd name="connsiteX8" fmla="*/ 4755423 w 8929549"/>
              <a:gd name="connsiteY8" fmla="*/ 0 h 6721475"/>
              <a:gd name="connsiteX9" fmla="*/ 4759095 w 8929549"/>
              <a:gd name="connsiteY9" fmla="*/ 0 h 6721475"/>
              <a:gd name="connsiteX10" fmla="*/ 6553069 w 8929549"/>
              <a:gd name="connsiteY10" fmla="*/ 0 h 6721475"/>
              <a:gd name="connsiteX11" fmla="*/ 6556741 w 8929549"/>
              <a:gd name="connsiteY11" fmla="*/ 0 h 6721475"/>
              <a:gd name="connsiteX12" fmla="*/ 6556741 w 8929549"/>
              <a:gd name="connsiteY12" fmla="*/ 10386 h 6721475"/>
              <a:gd name="connsiteX13" fmla="*/ 8929549 w 8929549"/>
              <a:gd name="connsiteY13" fmla="*/ 6721475 h 6721475"/>
              <a:gd name="connsiteX14" fmla="*/ 7131903 w 8929549"/>
              <a:gd name="connsiteY14" fmla="*/ 6721475 h 6721475"/>
              <a:gd name="connsiteX15" fmla="*/ 7040976 w 8929549"/>
              <a:gd name="connsiteY15" fmla="*/ 6721475 h 6721475"/>
              <a:gd name="connsiteX16" fmla="*/ 5243330 w 8929549"/>
              <a:gd name="connsiteY16" fmla="*/ 6721475 h 6721475"/>
              <a:gd name="connsiteX17" fmla="*/ 3686219 w 8929549"/>
              <a:gd name="connsiteY17" fmla="*/ 6721475 h 6721475"/>
              <a:gd name="connsiteX18" fmla="*/ 1888573 w 8929549"/>
              <a:gd name="connsiteY18" fmla="*/ 6721475 h 6721475"/>
              <a:gd name="connsiteX19" fmla="*/ 1797646 w 8929549"/>
              <a:gd name="connsiteY19" fmla="*/ 6721475 h 6721475"/>
              <a:gd name="connsiteX20" fmla="*/ 0 w 8929549"/>
              <a:gd name="connsiteY20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8929549" h="6721475">
                <a:moveTo>
                  <a:pt x="0" y="0"/>
                </a:moveTo>
                <a:lnTo>
                  <a:pt x="1797646" y="0"/>
                </a:lnTo>
                <a:lnTo>
                  <a:pt x="1888573" y="0"/>
                </a:lnTo>
                <a:lnTo>
                  <a:pt x="2866850" y="0"/>
                </a:lnTo>
                <a:lnTo>
                  <a:pt x="2870522" y="0"/>
                </a:lnTo>
                <a:lnTo>
                  <a:pt x="3686219" y="0"/>
                </a:lnTo>
                <a:lnTo>
                  <a:pt x="4664496" y="0"/>
                </a:lnTo>
                <a:lnTo>
                  <a:pt x="4668168" y="0"/>
                </a:lnTo>
                <a:lnTo>
                  <a:pt x="4755423" y="0"/>
                </a:lnTo>
                <a:lnTo>
                  <a:pt x="4759095" y="0"/>
                </a:lnTo>
                <a:lnTo>
                  <a:pt x="6553069" y="0"/>
                </a:lnTo>
                <a:lnTo>
                  <a:pt x="6556741" y="0"/>
                </a:lnTo>
                <a:lnTo>
                  <a:pt x="6556741" y="10386"/>
                </a:lnTo>
                <a:lnTo>
                  <a:pt x="8929549" y="6721475"/>
                </a:lnTo>
                <a:lnTo>
                  <a:pt x="7131903" y="6721475"/>
                </a:lnTo>
                <a:lnTo>
                  <a:pt x="7040976" y="6721475"/>
                </a:lnTo>
                <a:lnTo>
                  <a:pt x="5243330" y="6721475"/>
                </a:lnTo>
                <a:lnTo>
                  <a:pt x="3686219" y="6721475"/>
                </a:lnTo>
                <a:lnTo>
                  <a:pt x="1888573" y="6721475"/>
                </a:lnTo>
                <a:lnTo>
                  <a:pt x="1797646" y="6721475"/>
                </a:lnTo>
                <a:lnTo>
                  <a:pt x="0" y="6721475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CO" dirty="0" err="1"/>
              <a:t>Click</a:t>
            </a:r>
            <a:r>
              <a:rPr lang="es-CO" dirty="0"/>
              <a:t> </a:t>
            </a:r>
            <a:r>
              <a:rPr lang="es-CO" dirty="0" err="1"/>
              <a:t>to</a:t>
            </a:r>
            <a:r>
              <a:rPr lang="es-CO" dirty="0"/>
              <a:t> </a:t>
            </a:r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itle</a:t>
            </a:r>
            <a:r>
              <a:rPr lang="es-CO" dirty="0"/>
              <a:t> </a:t>
            </a:r>
            <a:r>
              <a:rPr lang="es-CO" dirty="0" err="1"/>
              <a:t>style</a:t>
            </a:r>
            <a:endParaRPr lang="es-CO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7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0" eaLnBrk="1"/>
            <a:endParaRPr lang="es-CO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5B3C1C9-164C-45D0-AE40-099216F858A4}"/>
              </a:ext>
            </a:extLst>
          </p:cNvPr>
          <p:cNvSpPr txBox="1">
            <a:spLocks/>
          </p:cNvSpPr>
          <p:nvPr/>
        </p:nvSpPr>
        <p:spPr bwMode="gray">
          <a:xfrm>
            <a:off x="11652053" y="6627164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CO" sz="816" smtClean="0">
                <a:solidFill>
                  <a:schemeClr val="bg1"/>
                </a:solidFill>
              </a:rPr>
              <a:pPr lvl="0"/>
              <a:t>‹Nº›</a:t>
            </a:fld>
            <a:endParaRPr lang="es-CO" sz="816" dirty="0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A091C01-859B-4D5E-A46D-7F6F795C667F}"/>
              </a:ext>
            </a:extLst>
          </p:cNvPr>
          <p:cNvGrpSpPr/>
          <p:nvPr/>
        </p:nvGrpSpPr>
        <p:grpSpPr>
          <a:xfrm>
            <a:off x="10829031" y="6608571"/>
            <a:ext cx="618531" cy="165283"/>
            <a:chOff x="4797041" y="952089"/>
            <a:chExt cx="2281238" cy="609599"/>
          </a:xfrm>
          <a:solidFill>
            <a:schemeClr val="bg1"/>
          </a:solidFill>
        </p:grpSpPr>
        <p:sp>
          <p:nvSpPr>
            <p:cNvPr id="14" name="Freeform 538">
              <a:extLst>
                <a:ext uri="{FF2B5EF4-FFF2-40B4-BE49-F238E27FC236}">
                  <a16:creationId xmlns:a16="http://schemas.microsoft.com/office/drawing/2014/main" id="{1EEA9E48-40F1-4821-856D-CFC901698D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15" name="Freeform 539">
              <a:extLst>
                <a:ext uri="{FF2B5EF4-FFF2-40B4-BE49-F238E27FC236}">
                  <a16:creationId xmlns:a16="http://schemas.microsoft.com/office/drawing/2014/main" id="{1BC14002-6AC7-43A0-B8FC-6FDAA1EF5D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16" name="Freeform 540">
              <a:extLst>
                <a:ext uri="{FF2B5EF4-FFF2-40B4-BE49-F238E27FC236}">
                  <a16:creationId xmlns:a16="http://schemas.microsoft.com/office/drawing/2014/main" id="{CE175A35-FD80-4EAC-B7C8-A2B57FC263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17" name="Freeform 541">
              <a:extLst>
                <a:ext uri="{FF2B5EF4-FFF2-40B4-BE49-F238E27FC236}">
                  <a16:creationId xmlns:a16="http://schemas.microsoft.com/office/drawing/2014/main" id="{6AD157DA-7E3C-4887-BCF8-2390422DBB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18" name="Freeform 542">
              <a:extLst>
                <a:ext uri="{FF2B5EF4-FFF2-40B4-BE49-F238E27FC236}">
                  <a16:creationId xmlns:a16="http://schemas.microsoft.com/office/drawing/2014/main" id="{0AC7FD69-DF48-4BE9-830A-FAECD1F40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19" name="Freeform 543">
              <a:extLst>
                <a:ext uri="{FF2B5EF4-FFF2-40B4-BE49-F238E27FC236}">
                  <a16:creationId xmlns:a16="http://schemas.microsoft.com/office/drawing/2014/main" id="{C3320177-C075-41D2-8D4D-084DB9CC0E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20" name="Freeform 544">
              <a:extLst>
                <a:ext uri="{FF2B5EF4-FFF2-40B4-BE49-F238E27FC236}">
                  <a16:creationId xmlns:a16="http://schemas.microsoft.com/office/drawing/2014/main" id="{9965B84C-9390-47C0-9D84-BE84FD66F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B2E4C0F-B532-4C36-8D02-51D33DE6C75D}"/>
              </a:ext>
            </a:extLst>
          </p:cNvPr>
          <p:cNvCxnSpPr>
            <a:cxnSpLocks/>
          </p:cNvCxnSpPr>
          <p:nvPr/>
        </p:nvCxnSpPr>
        <p:spPr>
          <a:xfrm>
            <a:off x="11495663" y="6560370"/>
            <a:ext cx="105233" cy="29763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3CCCC03-A808-48EC-A7E1-59D7CD8E471A}"/>
              </a:ext>
            </a:extLst>
          </p:cNvPr>
          <p:cNvCxnSpPr>
            <a:cxnSpLocks/>
          </p:cNvCxnSpPr>
          <p:nvPr/>
        </p:nvCxnSpPr>
        <p:spPr>
          <a:xfrm>
            <a:off x="11495662" y="6560370"/>
            <a:ext cx="3351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2408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6" imgH="386" progId="TCLayout.ActiveDocument.1">
                  <p:embed/>
                </p:oleObj>
              </mc:Choice>
              <mc:Fallback>
                <p:oleObj name="think-cell Slide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6FA45-D44D-41E8-A2D3-E0501CF784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53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1F81ED63-EF3B-478E-A45B-E7A1E767D03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1" r="19937"/>
          <a:stretch/>
        </p:blipFill>
        <p:spPr>
          <a:xfrm>
            <a:off x="4353940" y="2"/>
            <a:ext cx="7838062" cy="68580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AA7070E-4118-4494-BAD2-8DBA04DB9A84}"/>
              </a:ext>
            </a:extLst>
          </p:cNvPr>
          <p:cNvSpPr>
            <a:spLocks/>
          </p:cNvSpPr>
          <p:nvPr/>
        </p:nvSpPr>
        <p:spPr>
          <a:xfrm>
            <a:off x="0" y="2"/>
            <a:ext cx="6840595" cy="6858000"/>
          </a:xfrm>
          <a:custGeom>
            <a:avLst/>
            <a:gdLst>
              <a:gd name="connsiteX0" fmla="*/ 0 w 6704318"/>
              <a:gd name="connsiteY0" fmla="*/ 0 h 6721475"/>
              <a:gd name="connsiteX1" fmla="*/ 641619 w 6704318"/>
              <a:gd name="connsiteY1" fmla="*/ 0 h 6721475"/>
              <a:gd name="connsiteX2" fmla="*/ 645291 w 6704318"/>
              <a:gd name="connsiteY2" fmla="*/ 0 h 6721475"/>
              <a:gd name="connsiteX3" fmla="*/ 1460988 w 6704318"/>
              <a:gd name="connsiteY3" fmla="*/ 0 h 6721475"/>
              <a:gd name="connsiteX4" fmla="*/ 2439265 w 6704318"/>
              <a:gd name="connsiteY4" fmla="*/ 0 h 6721475"/>
              <a:gd name="connsiteX5" fmla="*/ 2442937 w 6704318"/>
              <a:gd name="connsiteY5" fmla="*/ 0 h 6721475"/>
              <a:gd name="connsiteX6" fmla="*/ 2530192 w 6704318"/>
              <a:gd name="connsiteY6" fmla="*/ 0 h 6721475"/>
              <a:gd name="connsiteX7" fmla="*/ 2533864 w 6704318"/>
              <a:gd name="connsiteY7" fmla="*/ 0 h 6721475"/>
              <a:gd name="connsiteX8" fmla="*/ 4327838 w 6704318"/>
              <a:gd name="connsiteY8" fmla="*/ 0 h 6721475"/>
              <a:gd name="connsiteX9" fmla="*/ 4331510 w 6704318"/>
              <a:gd name="connsiteY9" fmla="*/ 0 h 6721475"/>
              <a:gd name="connsiteX10" fmla="*/ 4331510 w 6704318"/>
              <a:gd name="connsiteY10" fmla="*/ 10386 h 6721475"/>
              <a:gd name="connsiteX11" fmla="*/ 6704318 w 6704318"/>
              <a:gd name="connsiteY11" fmla="*/ 6721475 h 6721475"/>
              <a:gd name="connsiteX12" fmla="*/ 4906672 w 6704318"/>
              <a:gd name="connsiteY12" fmla="*/ 6721475 h 6721475"/>
              <a:gd name="connsiteX13" fmla="*/ 4815745 w 6704318"/>
              <a:gd name="connsiteY13" fmla="*/ 6721475 h 6721475"/>
              <a:gd name="connsiteX14" fmla="*/ 3018099 w 6704318"/>
              <a:gd name="connsiteY14" fmla="*/ 6721475 h 6721475"/>
              <a:gd name="connsiteX15" fmla="*/ 1460988 w 6704318"/>
              <a:gd name="connsiteY15" fmla="*/ 6721475 h 6721475"/>
              <a:gd name="connsiteX16" fmla="*/ 0 w 6704318"/>
              <a:gd name="connsiteY16" fmla="*/ 6721475 h 6721475"/>
              <a:gd name="connsiteX17" fmla="*/ 0 w 6704318"/>
              <a:gd name="connsiteY17" fmla="*/ 0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04318" h="6721475">
                <a:moveTo>
                  <a:pt x="0" y="0"/>
                </a:moveTo>
                <a:lnTo>
                  <a:pt x="641619" y="0"/>
                </a:lnTo>
                <a:lnTo>
                  <a:pt x="645291" y="0"/>
                </a:lnTo>
                <a:lnTo>
                  <a:pt x="1460988" y="0"/>
                </a:lnTo>
                <a:lnTo>
                  <a:pt x="2439265" y="0"/>
                </a:lnTo>
                <a:lnTo>
                  <a:pt x="2442937" y="0"/>
                </a:lnTo>
                <a:lnTo>
                  <a:pt x="2530192" y="0"/>
                </a:lnTo>
                <a:lnTo>
                  <a:pt x="2533864" y="0"/>
                </a:lnTo>
                <a:lnTo>
                  <a:pt x="4327838" y="0"/>
                </a:lnTo>
                <a:lnTo>
                  <a:pt x="4331510" y="0"/>
                </a:lnTo>
                <a:lnTo>
                  <a:pt x="4331510" y="10386"/>
                </a:lnTo>
                <a:lnTo>
                  <a:pt x="6704318" y="6721475"/>
                </a:lnTo>
                <a:lnTo>
                  <a:pt x="4906672" y="6721475"/>
                </a:lnTo>
                <a:lnTo>
                  <a:pt x="4815745" y="6721475"/>
                </a:lnTo>
                <a:lnTo>
                  <a:pt x="3018099" y="6721475"/>
                </a:lnTo>
                <a:lnTo>
                  <a:pt x="1460988" y="6721475"/>
                </a:lnTo>
                <a:lnTo>
                  <a:pt x="0" y="672147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50800" dist="635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7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0" eaLnBrk="1"/>
            <a:endParaRPr lang="es-CO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C9B9250-2837-42B9-9997-131808FF9503}"/>
              </a:ext>
            </a:extLst>
          </p:cNvPr>
          <p:cNvGrpSpPr/>
          <p:nvPr/>
        </p:nvGrpSpPr>
        <p:grpSpPr>
          <a:xfrm>
            <a:off x="832780" y="2903659"/>
            <a:ext cx="3931927" cy="1050685"/>
            <a:chOff x="4797041" y="952089"/>
            <a:chExt cx="2281238" cy="609599"/>
          </a:xfrm>
        </p:grpSpPr>
        <p:sp>
          <p:nvSpPr>
            <p:cNvPr id="26" name="Freeform 538">
              <a:extLst>
                <a:ext uri="{FF2B5EF4-FFF2-40B4-BE49-F238E27FC236}">
                  <a16:creationId xmlns:a16="http://schemas.microsoft.com/office/drawing/2014/main" id="{B867A878-913F-47AE-A151-F55FDEC1EA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27" name="Freeform 539">
              <a:extLst>
                <a:ext uri="{FF2B5EF4-FFF2-40B4-BE49-F238E27FC236}">
                  <a16:creationId xmlns:a16="http://schemas.microsoft.com/office/drawing/2014/main" id="{3DC3CB76-26C6-4631-8C62-ABD7B3B492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28" name="Freeform 540">
              <a:extLst>
                <a:ext uri="{FF2B5EF4-FFF2-40B4-BE49-F238E27FC236}">
                  <a16:creationId xmlns:a16="http://schemas.microsoft.com/office/drawing/2014/main" id="{5675BF14-7787-4D15-A2C4-5109E68B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29" name="Freeform 541">
              <a:extLst>
                <a:ext uri="{FF2B5EF4-FFF2-40B4-BE49-F238E27FC236}">
                  <a16:creationId xmlns:a16="http://schemas.microsoft.com/office/drawing/2014/main" id="{549D4A3B-82C1-4AB5-ABB1-FF74D0CBCB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30" name="Freeform 542">
              <a:extLst>
                <a:ext uri="{FF2B5EF4-FFF2-40B4-BE49-F238E27FC236}">
                  <a16:creationId xmlns:a16="http://schemas.microsoft.com/office/drawing/2014/main" id="{F4D1B063-2152-4213-ADC9-D6DC3545B7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31" name="Freeform 543">
              <a:extLst>
                <a:ext uri="{FF2B5EF4-FFF2-40B4-BE49-F238E27FC236}">
                  <a16:creationId xmlns:a16="http://schemas.microsoft.com/office/drawing/2014/main" id="{4C30F9F3-CAD7-45C3-83CF-A1E156B006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32" name="Freeform 544">
              <a:extLst>
                <a:ext uri="{FF2B5EF4-FFF2-40B4-BE49-F238E27FC236}">
                  <a16:creationId xmlns:a16="http://schemas.microsoft.com/office/drawing/2014/main" id="{CAFE6CEB-1DB4-4EAF-9377-14E5BA42C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</p:grpSp>
    </p:spTree>
    <p:extLst>
      <p:ext uri="{BB962C8B-B14F-4D97-AF65-F5344CB8AC3E}">
        <p14:creationId xmlns:p14="http://schemas.microsoft.com/office/powerpoint/2010/main" val="1614889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AA97A3-C0E7-4D83-B8E9-2B604E020E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AA97A3-C0E7-4D83-B8E9-2B604E020E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D7EA385-3644-4906-9E5C-2B86AFAE0C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O" sz="2653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0C9D11-DC05-4B52-8459-44195AD87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err="1"/>
              <a:t>Click</a:t>
            </a:r>
            <a:r>
              <a:rPr lang="es-CO" dirty="0"/>
              <a:t> </a:t>
            </a:r>
            <a:r>
              <a:rPr lang="es-CO" dirty="0" err="1"/>
              <a:t>to</a:t>
            </a:r>
            <a:r>
              <a:rPr lang="es-CO" dirty="0"/>
              <a:t> </a:t>
            </a:r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itle</a:t>
            </a:r>
            <a:r>
              <a:rPr lang="es-CO" dirty="0"/>
              <a:t> </a:t>
            </a:r>
            <a:r>
              <a:rPr lang="es-CO" dirty="0" err="1"/>
              <a:t>style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0813682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09759057-80D7-49C9-8449-DB80822FC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499244-E2A1-407B-A834-EDD67D503852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F79A72BF-C3F1-4F20-B0F7-92E2D91ED3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F7C2C19-010E-47F4-8E5A-0E6CF2DF9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90EA5E-EA9A-4855-951E-2CEC88D619D1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1628633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A9F3C9C-60DB-445D-8DF4-7A84F2DD37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34EA7FF-C8B7-4F24-B2A2-BA1A367EAC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9CEBCA5-F761-4C0F-A827-F3A0262D4C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DC13F-526E-44ED-8CCE-1FE2BAD0B5A2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08B5B-8FBD-41F8-837C-034D4EED8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2E9060D-9CD3-477A-AF9D-C86DBF2BF1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AB0B90-8E0D-46D5-91CA-C1138F3D6B7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2548915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91BB414A-2D73-42B9-92A2-EB6CE3419F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16" imgH="216" progId="TCLayout.ActiveDocument.1">
                  <p:embed/>
                </p:oleObj>
              </mc:Choice>
              <mc:Fallback>
                <p:oleObj name="Diapositiva de think-cell" r:id="rId4" imgW="216" imgH="216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91BB414A-2D73-42B9-92A2-EB6CE3419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5B608401-8210-426F-82F8-233810194E9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300" b="0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B40BA75-87CD-4EEF-B420-36E18EFD7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440"/>
            <a:ext cx="10515600" cy="1325563"/>
          </a:xfrm>
        </p:spPr>
        <p:txBody>
          <a:bodyPr>
            <a:normAutofit/>
          </a:bodyPr>
          <a:lstStyle>
            <a:lvl1pPr>
              <a:defRPr sz="33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5E436D6-CEB8-4BDB-AD51-FEDFA6AF98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Flexo" pitchFamily="50" charset="0"/>
              </a:defRPr>
            </a:lvl1pPr>
            <a:lvl2pPr>
              <a:defRPr>
                <a:latin typeface="Flexo" pitchFamily="50" charset="0"/>
              </a:defRPr>
            </a:lvl2pPr>
            <a:lvl3pPr>
              <a:defRPr>
                <a:latin typeface="Flexo" pitchFamily="50" charset="0"/>
              </a:defRPr>
            </a:lvl3pPr>
            <a:lvl4pPr>
              <a:defRPr>
                <a:latin typeface="Flexo" pitchFamily="50" charset="0"/>
              </a:defRPr>
            </a:lvl4pPr>
            <a:lvl5pPr>
              <a:defRPr>
                <a:latin typeface="Flexo" pitchFamily="50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6BC2ADE-A35B-4078-9A90-C4E3A16B8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DC13F-526E-44ED-8CCE-1FE2BAD0B5A2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126DD9A-3BDE-4D01-9C28-7E502F7C6C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4B15885-C053-4C57-A7E5-7B1E5D74E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AB0B90-8E0D-46D5-91CA-C1138F3D6B7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205849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91BB414A-2D73-42B9-92A2-EB6CE3419F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6641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16" imgH="216" progId="TCLayout.ActiveDocument.1">
                  <p:embed/>
                </p:oleObj>
              </mc:Choice>
              <mc:Fallback>
                <p:oleObj name="Diapositiva de think-cell" r:id="rId4" imgW="216" imgH="216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91BB414A-2D73-42B9-92A2-EB6CE3419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5B608401-8210-426F-82F8-233810194E9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800" b="0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6CE2CAA8-499F-4221-A888-CAF8E92C8DC4}"/>
              </a:ext>
            </a:extLst>
          </p:cNvPr>
          <p:cNvSpPr/>
          <p:nvPr userDrawn="1"/>
        </p:nvSpPr>
        <p:spPr>
          <a:xfrm>
            <a:off x="0" y="1"/>
            <a:ext cx="12192000" cy="132556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B40BA75-87CD-4EEF-B420-36E18EFD7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9829" y="13440"/>
            <a:ext cx="10414278" cy="132556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5E436D6-CEB8-4BDB-AD51-FEDFA6AF98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Flexo" pitchFamily="50" charset="0"/>
              </a:defRPr>
            </a:lvl1pPr>
            <a:lvl2pPr>
              <a:defRPr>
                <a:latin typeface="Flexo" pitchFamily="50" charset="0"/>
              </a:defRPr>
            </a:lvl2pPr>
            <a:lvl3pPr>
              <a:defRPr>
                <a:latin typeface="Flexo" pitchFamily="50" charset="0"/>
              </a:defRPr>
            </a:lvl3pPr>
            <a:lvl4pPr>
              <a:defRPr>
                <a:latin typeface="Flexo" pitchFamily="50" charset="0"/>
              </a:defRPr>
            </a:lvl4pPr>
            <a:lvl5pPr>
              <a:defRPr>
                <a:latin typeface="Flexo" pitchFamily="50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6BC2ADE-A35B-4078-9A90-C4E3A16B8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DC13F-526E-44ED-8CCE-1FE2BAD0B5A2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126DD9A-3BDE-4D01-9C28-7E502F7C6C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4B15885-C053-4C57-A7E5-7B1E5D74E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AB0B90-8E0D-46D5-91CA-C1138F3D6B7F}" type="slidenum">
              <a:rPr lang="es-PE" smtClean="0"/>
              <a:t>‹Nº›</a:t>
            </a:fld>
            <a:endParaRPr lang="es-PE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D01F67A7-FE2A-4B52-A94F-33EF824C33B4}"/>
              </a:ext>
            </a:extLst>
          </p:cNvPr>
          <p:cNvSpPr txBox="1"/>
          <p:nvPr userDrawn="1"/>
        </p:nvSpPr>
        <p:spPr>
          <a:xfrm>
            <a:off x="-1185178" y="1052989"/>
            <a:ext cx="10340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Flexo" pitchFamily="50" charset="0"/>
              </a:rPr>
              <a:t>Paleta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EACF40E6-2288-4227-9DBF-579816164EB4}"/>
              </a:ext>
            </a:extLst>
          </p:cNvPr>
          <p:cNvSpPr/>
          <p:nvPr userDrawn="1"/>
        </p:nvSpPr>
        <p:spPr>
          <a:xfrm>
            <a:off x="-1165412" y="2046743"/>
            <a:ext cx="945816" cy="636011"/>
          </a:xfrm>
          <a:prstGeom prst="rect">
            <a:avLst/>
          </a:prstGeom>
          <a:solidFill>
            <a:srgbClr val="00B2CE"/>
          </a:solidFill>
          <a:ln w="9525">
            <a:solidFill>
              <a:srgbClr val="00B2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20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578796BE-6BD0-4387-BDAA-F5A4A0EED679}"/>
              </a:ext>
            </a:extLst>
          </p:cNvPr>
          <p:cNvSpPr/>
          <p:nvPr userDrawn="1"/>
        </p:nvSpPr>
        <p:spPr>
          <a:xfrm>
            <a:off x="-1165412" y="2683016"/>
            <a:ext cx="945816" cy="636011"/>
          </a:xfrm>
          <a:prstGeom prst="rect">
            <a:avLst/>
          </a:prstGeom>
          <a:solidFill>
            <a:srgbClr val="FF8000"/>
          </a:solidFill>
          <a:ln w="9525">
            <a:solidFill>
              <a:srgbClr val="FF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20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53CBE68E-56E3-4445-8607-9E16685012D6}"/>
              </a:ext>
            </a:extLst>
          </p:cNvPr>
          <p:cNvSpPr/>
          <p:nvPr userDrawn="1"/>
        </p:nvSpPr>
        <p:spPr>
          <a:xfrm>
            <a:off x="-1165412" y="3319289"/>
            <a:ext cx="945816" cy="636011"/>
          </a:xfrm>
          <a:prstGeom prst="rect">
            <a:avLst/>
          </a:prstGeom>
          <a:solidFill>
            <a:srgbClr val="92D050"/>
          </a:solidFill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20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330D8708-FD51-4299-AA82-04F48430F56E}"/>
              </a:ext>
            </a:extLst>
          </p:cNvPr>
          <p:cNvSpPr/>
          <p:nvPr userDrawn="1"/>
        </p:nvSpPr>
        <p:spPr>
          <a:xfrm>
            <a:off x="-1165412" y="3955562"/>
            <a:ext cx="945816" cy="636011"/>
          </a:xfrm>
          <a:prstGeom prst="rect">
            <a:avLst/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20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70F0E84E-3E0F-4C45-955C-836D5DCFDB4C}"/>
              </a:ext>
            </a:extLst>
          </p:cNvPr>
          <p:cNvSpPr/>
          <p:nvPr userDrawn="1"/>
        </p:nvSpPr>
        <p:spPr>
          <a:xfrm>
            <a:off x="-1165412" y="4591835"/>
            <a:ext cx="945816" cy="636011"/>
          </a:xfrm>
          <a:prstGeom prst="rect">
            <a:avLst/>
          </a:prstGeom>
          <a:solidFill>
            <a:srgbClr val="E2007B"/>
          </a:solidFill>
          <a:ln w="9525">
            <a:solidFill>
              <a:srgbClr val="E200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200">
              <a:solidFill>
                <a:schemeClr val="bg2">
                  <a:lumMod val="1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65455426-6CC9-4B21-82A3-E276A2C10D31}"/>
              </a:ext>
            </a:extLst>
          </p:cNvPr>
          <p:cNvSpPr/>
          <p:nvPr userDrawn="1"/>
        </p:nvSpPr>
        <p:spPr>
          <a:xfrm>
            <a:off x="-1165412" y="5228109"/>
            <a:ext cx="945816" cy="636011"/>
          </a:xfrm>
          <a:prstGeom prst="rect">
            <a:avLst/>
          </a:prstGeom>
          <a:solidFill>
            <a:srgbClr val="7F7F7F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20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819B0C62-3BCA-4EC3-A956-17A93727D4CA}"/>
              </a:ext>
            </a:extLst>
          </p:cNvPr>
          <p:cNvSpPr/>
          <p:nvPr userDrawn="1"/>
        </p:nvSpPr>
        <p:spPr>
          <a:xfrm>
            <a:off x="-1165413" y="1410436"/>
            <a:ext cx="945816" cy="636011"/>
          </a:xfrm>
          <a:prstGeom prst="rect">
            <a:avLst/>
          </a:prstGeom>
          <a:solidFill>
            <a:srgbClr val="002C71"/>
          </a:solidFill>
          <a:ln w="9525">
            <a:solidFill>
              <a:srgbClr val="012D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20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EB0D6C6E-447E-4B43-ACE0-D690DA523CA2}"/>
              </a:ext>
            </a:extLst>
          </p:cNvPr>
          <p:cNvSpPr/>
          <p:nvPr userDrawn="1"/>
        </p:nvSpPr>
        <p:spPr bwMode="auto">
          <a:xfrm>
            <a:off x="-1162607" y="5864332"/>
            <a:ext cx="950702" cy="685800"/>
          </a:xfrm>
          <a:prstGeom prst="rect">
            <a:avLst/>
          </a:prstGeom>
          <a:solidFill>
            <a:srgbClr val="BFBFBF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/>
            <a:endParaRPr lang="en-US" sz="1200">
              <a:solidFill>
                <a:schemeClr val="bg2">
                  <a:lumMod val="10000"/>
                </a:schemeClr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17533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6FA05E3-1369-4540-9274-82B4C84DD6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CDDFFBE-01E3-4B77-9E74-BA70ED6954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D7B2CBB-A0FC-4100-B32A-938AC5361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DC13F-526E-44ED-8CCE-1FE2BAD0B5A2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360E09C-3CA3-4054-87E6-2F5179460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8591DF9-F251-4A78-9FB5-4CC2C227CA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AB0B90-8E0D-46D5-91CA-C1138F3D6B7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2860133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76D685-5CC0-4D71-A63B-C527AAE51F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7040471-260B-4E28-B650-873232000B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A59FF1B-FE28-4535-B665-C8221F9966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047045F-52FD-47F7-878A-82A88E202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DC13F-526E-44ED-8CCE-1FE2BAD0B5A2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4ED9BB9-0E42-4320-87BE-9D6CAE645A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9756D5DD-1A89-47D6-AA3E-3C8FD6D7C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AB0B90-8E0D-46D5-91CA-C1138F3D6B7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66447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DCEC97-9052-2BFA-161D-24D944A16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E9849A3-4CFE-79E5-FD91-0154D12975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3BA794A-0D03-7DE2-C750-33E3651B85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798A5-24E9-4455-A98C-E0FFF73B6771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8022C59-4858-D998-F11D-875B2B884F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1AEC3C7-6B45-5F03-47C3-0BE8B3BA6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C14E2-BA02-4081-9AF4-CD0D27E2CEC7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397848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836A2D0-EF7D-417A-8502-8E70E077C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351AEAE-E179-4987-9C2C-881EEFD71E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92C55163-C110-4FB4-ACA9-C46A2B3C08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FDF9C6D5-FF7A-445D-B231-FF79E86FA4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6C3140B-DABA-466E-9140-A470F28D09D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AB8DB124-EC25-44E2-B89F-733CAAA771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DC13F-526E-44ED-8CCE-1FE2BAD0B5A2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9444AA4E-B620-4E65-87DC-81235AA07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9036DD58-BAD7-480B-BB6D-1786474AF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AB0B90-8E0D-46D5-91CA-C1138F3D6B7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2224897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00F22A0-A5D5-4B74-A517-DB654DF2A2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0C29FE0B-5519-420A-8895-3FCC1B47F3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DC13F-526E-44ED-8CCE-1FE2BAD0B5A2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976A3C3-B05B-4D72-BF0B-75FE2DC6C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846A898-13B6-4DBA-9C4A-D7F75F984A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AB0B90-8E0D-46D5-91CA-C1138F3D6B7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7151884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CCCAFE35-C25E-47B8-A79A-223AF10EF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DC13F-526E-44ED-8CCE-1FE2BAD0B5A2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275E40A3-83AE-4C45-BAB3-620478991E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CEC174D-B437-4666-A42F-7A6DC2659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AB0B90-8E0D-46D5-91CA-C1138F3D6B7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110788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C8C5D5-2831-4B6E-9F0A-54511F8B53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E36D1C3-C7CE-4A82-8B8E-991D5F8BDF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3CC7ECC-13C7-44E8-82D6-C0B22D1344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60A4088-3E49-431F-A503-AB43EA2E1F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DC13F-526E-44ED-8CCE-1FE2BAD0B5A2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B39F715-B294-4182-9F9E-0D622FD60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1F013D1-50E9-46C6-A370-81AC01790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AB0B90-8E0D-46D5-91CA-C1138F3D6B7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00552108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B8807DE-48F0-49B1-BF5A-00FF80937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BCCF1386-0C21-4B39-AE0B-05AB7B5A0E1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5A704A60-DCA5-4DC7-9E28-0EF1235C9F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D894F28-655B-44BC-8527-50B765C5D3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DC13F-526E-44ED-8CCE-1FE2BAD0B5A2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1CC49ED-020A-4008-ACA7-14E9FB2113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5225579-C73A-4321-B3C8-F3C71DE79D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AB0B90-8E0D-46D5-91CA-C1138F3D6B7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180344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F483B57-C157-40A7-8805-F4B2A8E64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A25C636-274C-41CB-A211-E935BBF51A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8F7D63D-7236-46F8-A09A-E9C2A7A008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DC13F-526E-44ED-8CCE-1FE2BAD0B5A2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F1363DE-8284-4984-AF13-665F5478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5E36DA5-864F-4C05-AB07-34D77EB17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AB0B90-8E0D-46D5-91CA-C1138F3D6B7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0814790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0CD05BD-050F-42D9-B9FB-74D99C0A25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EC5A4E8D-DD04-4724-81E2-B286A57021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53293F2-C64B-4057-B7E0-77E03FDD1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DC13F-526E-44ED-8CCE-1FE2BAD0B5A2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DF84559-2A36-418E-A2A7-E36EB0242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3789F51-F258-40C1-A97B-21D66123C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AB0B90-8E0D-46D5-91CA-C1138F3D6B7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98874981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contenido 10"/>
          <p:cNvSpPr>
            <a:spLocks noGrp="1"/>
          </p:cNvSpPr>
          <p:nvPr>
            <p:ph sz="quarter" idx="11"/>
          </p:nvPr>
        </p:nvSpPr>
        <p:spPr>
          <a:xfrm>
            <a:off x="995363" y="1112838"/>
            <a:ext cx="10680700" cy="5154612"/>
          </a:xfrm>
          <a:noFill/>
        </p:spPr>
        <p:txBody>
          <a:bodyPr>
            <a:normAutofit/>
          </a:bodyPr>
          <a:lstStyle>
            <a:lvl1pPr>
              <a:defRPr sz="1800">
                <a:latin typeface="Tw Cen MT" panose="020B0602020104020603" pitchFamily="34" charset="0"/>
              </a:defRPr>
            </a:lvl1pPr>
            <a:lvl2pPr>
              <a:defRPr sz="1800">
                <a:latin typeface="Tw Cen MT" panose="020B0602020104020603" pitchFamily="34" charset="0"/>
              </a:defRPr>
            </a:lvl2pPr>
            <a:lvl3pPr>
              <a:defRPr sz="1800">
                <a:latin typeface="Tw Cen MT" panose="020B0602020104020603" pitchFamily="34" charset="0"/>
              </a:defRPr>
            </a:lvl3pPr>
            <a:lvl4pPr>
              <a:defRPr sz="1800">
                <a:latin typeface="Tw Cen MT" panose="020B0602020104020603" pitchFamily="34" charset="0"/>
              </a:defRPr>
            </a:lvl4pPr>
            <a:lvl5pPr>
              <a:defRPr sz="1800">
                <a:latin typeface="Tw Cen MT" panose="020B0602020104020603" pitchFamily="34" charset="0"/>
              </a:defRPr>
            </a:lvl5pPr>
          </a:lstStyle>
          <a:p>
            <a:pPr lvl="0"/>
            <a:r>
              <a:rPr lang="es-ES" noProof="0"/>
              <a:t>Edit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s-PE" noProof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D5A4907-2F30-4D15-B042-DE4F6A728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454" y="144785"/>
            <a:ext cx="10672293" cy="494191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>
                    <a:lumMod val="50000"/>
                  </a:schemeClr>
                </a:solidFill>
                <a:latin typeface="Tw Cen MT" panose="020B0602020104020603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cxnSp>
        <p:nvCxnSpPr>
          <p:cNvPr id="6" name="Straight Connector 47">
            <a:extLst>
              <a:ext uri="{FF2B5EF4-FFF2-40B4-BE49-F238E27FC236}">
                <a16:creationId xmlns:a16="http://schemas.microsoft.com/office/drawing/2014/main" id="{8EC70DEF-B4DB-414A-8DF3-628658BE760F}"/>
              </a:ext>
            </a:extLst>
          </p:cNvPr>
          <p:cNvCxnSpPr>
            <a:cxnSpLocks/>
          </p:cNvCxnSpPr>
          <p:nvPr userDrawn="1"/>
        </p:nvCxnSpPr>
        <p:spPr>
          <a:xfrm>
            <a:off x="995448" y="1030152"/>
            <a:ext cx="10680300" cy="0"/>
          </a:xfrm>
          <a:prstGeom prst="line">
            <a:avLst/>
          </a:prstGeom>
          <a:noFill/>
          <a:ln w="25400" cap="flat" cmpd="sng" algn="ctr">
            <a:solidFill>
              <a:srgbClr val="004A8F"/>
            </a:solidFill>
            <a:prstDash val="solid"/>
          </a:ln>
          <a:effectLst/>
        </p:spPr>
      </p:cxnSp>
      <p:sp>
        <p:nvSpPr>
          <p:cNvPr id="8" name="Marcador de contenido 7"/>
          <p:cNvSpPr>
            <a:spLocks noGrp="1"/>
          </p:cNvSpPr>
          <p:nvPr>
            <p:ph sz="quarter" idx="10"/>
          </p:nvPr>
        </p:nvSpPr>
        <p:spPr>
          <a:xfrm>
            <a:off x="1003299" y="672814"/>
            <a:ext cx="8639277" cy="390525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rgbClr val="002060"/>
                </a:solidFill>
                <a:latin typeface="Tw Cen MT" panose="020B0602020104020603" pitchFamily="34" charset="0"/>
              </a:defRPr>
            </a:lvl1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3" name="Marcador de contenido 7">
            <a:extLst>
              <a:ext uri="{FF2B5EF4-FFF2-40B4-BE49-F238E27FC236}">
                <a16:creationId xmlns:a16="http://schemas.microsoft.com/office/drawing/2014/main" id="{5FA01D15-E744-AFE4-D76B-8787E1EA9C0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9743090" y="675542"/>
            <a:ext cx="1940510" cy="390525"/>
          </a:xfrm>
        </p:spPr>
        <p:txBody>
          <a:bodyPr>
            <a:noAutofit/>
          </a:bodyPr>
          <a:lstStyle>
            <a:lvl1pPr marL="0" indent="0" algn="r">
              <a:buNone/>
              <a:defRPr sz="1100" b="1">
                <a:solidFill>
                  <a:srgbClr val="002060"/>
                </a:solidFill>
                <a:latin typeface="Tw Cen MT" panose="020B0602020104020603" pitchFamily="34" charset="0"/>
              </a:defRPr>
            </a:lvl1pPr>
          </a:lstStyle>
          <a:p>
            <a:pPr lvl="0"/>
            <a:r>
              <a:rPr lang="es-ES"/>
              <a:t>Edit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940951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6/04/2024</a:t>
            </a:fld>
            <a:endParaRPr lang="es-ES_tradn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Nº›</a:t>
            </a:fld>
            <a:endParaRPr lang="es-ES_tradnl"/>
          </a:p>
        </p:txBody>
      </p:sp>
      <p:pic>
        <p:nvPicPr>
          <p:cNvPr id="6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598" y="1"/>
            <a:ext cx="2626402" cy="1376084"/>
          </a:xfrm>
          <a:prstGeom prst="rect">
            <a:avLst/>
          </a:prstGeom>
        </p:spPr>
      </p:pic>
      <p:pic>
        <p:nvPicPr>
          <p:cNvPr id="7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37128" y="795906"/>
            <a:ext cx="6402943" cy="1325563"/>
          </a:xfrm>
        </p:spPr>
        <p:txBody>
          <a:bodyPr>
            <a:normAutofit/>
          </a:bodyPr>
          <a:lstStyle>
            <a:lvl1pPr>
              <a:defRPr sz="314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2206165"/>
            <a:ext cx="8885229" cy="2812845"/>
          </a:xfrm>
        </p:spPr>
        <p:txBody>
          <a:bodyPr>
            <a:normAutofit/>
          </a:bodyPr>
          <a:lstStyle>
            <a:lvl1pPr>
              <a:defRPr sz="1350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350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350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350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350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7966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B12374B-E86B-0BC9-E7AC-8B99467C2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A75E328-B396-9DFA-D5B2-04ECF15EA9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EABA1054-DA55-B5F5-5DF7-97AF617B1C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1E1618F-FAE0-E3D4-3C03-DF8B5391B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798A5-24E9-4455-A98C-E0FFF73B6771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1AA1449-89BE-457A-7866-AAC342017B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CAFA748-50EE-58C6-7E40-1AC503B45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C14E2-BA02-4081-9AF4-CD0D27E2CEC7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3727319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A19775-6C79-ABCB-C993-0D7C0CFA8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A82E71E-9215-4AA4-F3F9-D647A8925B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53276D5-2D6E-454A-8A88-66CDC49F9B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359E52FA-5745-31C2-237E-4047E737DE6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76822582-F15B-BAA0-4E70-44BAD63554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7C8EC449-79BD-1258-DF54-8B5A5D051B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798A5-24E9-4455-A98C-E0FFF73B6771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BA6C063-28B9-A9AB-96D4-276DA054ED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E65A8477-ABE0-8441-ED82-D55C98B8D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C14E2-BA02-4081-9AF4-CD0D27E2CEC7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63173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6C01203-4047-8965-1360-1215301D4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DE1300A-45A8-035A-68D1-0BB907A35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798A5-24E9-4455-A98C-E0FFF73B6771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8598159-3495-11AE-220E-2A69E2E193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BD45167-93DA-1070-CD81-FFB75859D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C14E2-BA02-4081-9AF4-CD0D27E2CEC7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61330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BFD393D8-95BF-6A21-2A98-C7463248E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798A5-24E9-4455-A98C-E0FFF73B6771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4295D32F-6688-8DB8-BC7C-19BCA65A6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9FD5719-1FCC-7DE5-7E41-A55F13495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C14E2-BA02-4081-9AF4-CD0D27E2CEC7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321395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FE077-5B5C-C572-864E-13FC39019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3D9B8DF-3EA8-AB5E-83B2-1C75735D60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B0FB035-7723-DF2C-27CF-334618926D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1CE103B-8353-D59F-2624-145B1928CB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798A5-24E9-4455-A98C-E0FFF73B6771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4B7F018-0F8F-057C-69BB-DD3AF73343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BB2CCA39-2512-7A84-BD63-1D36D05AC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C14E2-BA02-4081-9AF4-CD0D27E2CEC7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7175246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" Type="http://schemas.openxmlformats.org/officeDocument/2006/relationships/slideLayout" Target="../slideLayouts/slideLayout29.xml"/><Relationship Id="rId21" Type="http://schemas.openxmlformats.org/officeDocument/2006/relationships/tags" Target="../tags/tag15.xml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31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image" Target="../media/image5.emf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oleObject" Target="../embeddings/oleObject11.bin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tags" Target="../tags/tag36.xml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35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4.xml"/><Relationship Id="rId19" Type="http://schemas.openxmlformats.org/officeDocument/2006/relationships/image" Target="../media/image12.emf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ABDA6A54-BB98-44B0-AC58-8A1BD07D9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4093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0154071-5B1E-2838-9C52-847840615C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914400"/>
            <a:ext cx="10515600" cy="52625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B041DDA-76BD-5CF3-E2DC-880E9C3441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PE"/>
              <a:t>©2024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47142A8-5245-5A28-62EF-16DD08E27A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5C14E2-BA02-4081-9AF4-CD0D27E2CEC7}" type="slidenum">
              <a:rPr lang="es-PE" smtClean="0"/>
              <a:t>‹Nº›</a:t>
            </a:fld>
            <a:endParaRPr lang="es-PE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0DA41524-1A74-B2EB-783E-DE52BA4752E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2003661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Tw Cen MT" panose="020B06020201040206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w Cen MT" panose="020B06020201040206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w Cen MT" panose="020B06020201040206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w Cen MT" panose="020B06020201040206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w Cen MT" panose="020B06020201040206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w Cen MT" panose="020B06020201040206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BF87FADA-B1E2-4E02-9B33-A9A8046ADB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165335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7" imgW="592" imgH="591" progId="TCLayout.ActiveDocument.1">
                  <p:embed/>
                </p:oleObj>
              </mc:Choice>
              <mc:Fallback>
                <p:oleObj name="Diapositiva de think-cell" r:id="rId17" imgW="592" imgH="591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BF87FADA-B1E2-4E02-9B33-A9A8046ADB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A0D21B99-EABF-F7AE-FBE5-BC09E03533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4D2B462-29DD-55EF-8E0B-3A427C3CF1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1F53DC4-651D-CA4F-4C88-CCD81394F2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3357F5-088A-42B3-AAF1-6699217CCCD3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7C82279-C236-3C68-E3A5-6AFD454F78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74CC6EB-2808-5CC0-CEC3-9A4D53B936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396C2-AF07-44C1-BE3F-F063FF072BFF}" type="slidenum">
              <a:rPr lang="es-PE" smtClean="0"/>
              <a:t>‹Nº›</a:t>
            </a:fld>
            <a:endParaRPr lang="es-PE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9C389F16-F0CA-A5E9-73BA-8E8407C19D7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1728351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3" y="51837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0" eaLnBrk="1"/>
            <a:endParaRPr lang="es-CO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49870" y="234866"/>
            <a:ext cx="11537600" cy="408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s-CO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49870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CO" sz="816" cap="all" baseline="0" noProof="0" dirty="0" err="1">
                <a:solidFill>
                  <a:schemeClr val="accent4"/>
                </a:solidFill>
                <a:latin typeface="+mn-lt"/>
                <a:ea typeface="+mn-ea"/>
              </a:rPr>
              <a:t>Tracker</a:t>
            </a:r>
            <a:endParaRPr lang="es-CO" sz="816" cap="all" baseline="0" noProof="0" dirty="0">
              <a:solidFill>
                <a:schemeClr val="accent4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49870" y="742628"/>
            <a:ext cx="11537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CO" sz="1632" baseline="0" noProof="0" dirty="0" err="1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s-CO" sz="163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4" indent="-87464">
              <a:defRPr/>
            </a:pPr>
            <a:r>
              <a:rPr lang="es-CO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</a:t>
            </a:r>
            <a:r>
              <a:rPr lang="es-CO" sz="816" baseline="0" noProof="0" dirty="0" err="1">
                <a:solidFill>
                  <a:schemeClr val="accent6"/>
                </a:solidFill>
                <a:latin typeface="+mn-lt"/>
                <a:ea typeface="+mn-ea"/>
              </a:rPr>
              <a:t>Footnote</a:t>
            </a:r>
            <a:endParaRPr lang="es-CO" sz="816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3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3" indent="-503733" defTabSz="1218090">
              <a:tabLst/>
            </a:pPr>
            <a:r>
              <a:rPr lang="es-CO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</a:t>
            </a:r>
            <a:r>
              <a:rPr lang="es-CO" sz="816" baseline="0" noProof="0" dirty="0" err="1">
                <a:solidFill>
                  <a:schemeClr val="accent6"/>
                </a:solidFill>
                <a:latin typeface="+mn-lt"/>
                <a:ea typeface="+mn-ea"/>
              </a:rPr>
              <a:t>Source</a:t>
            </a:r>
            <a:endParaRPr lang="es-CO" sz="816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2"/>
            <a:ext cx="5801188" cy="531275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CO" sz="1632" b="1" baseline="0" noProof="0" dirty="0" err="1">
                  <a:latin typeface="+mn-lt"/>
                  <a:ea typeface="+mn-ea"/>
                </a:rPr>
                <a:t>Title</a:t>
              </a:r>
              <a:endParaRPr lang="es-CO" sz="1632" b="1" baseline="0" noProof="0" dirty="0">
                <a:latin typeface="+mn-lt"/>
                <a:ea typeface="+mn-ea"/>
              </a:endParaRPr>
            </a:p>
            <a:p>
              <a:r>
                <a:rPr lang="es-CO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Unit</a:t>
              </a:r>
              <a:r>
                <a:rPr lang="es-CO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es-CO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of</a:t>
              </a:r>
              <a:r>
                <a:rPr lang="es-CO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es-CO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measure</a:t>
              </a:r>
              <a:endParaRPr lang="es-CO" sz="1632" baseline="0" noProof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8" y="291555"/>
            <a:ext cx="492770" cy="156360"/>
            <a:chOff x="8378576" y="285750"/>
            <a:chExt cx="362199" cy="15324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0">
                <a:buClr>
                  <a:schemeClr val="tx2"/>
                </a:buClr>
              </a:pPr>
              <a:r>
                <a:rPr lang="es-CO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6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8190" y="285076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40159" y="255920"/>
            <a:ext cx="857123" cy="1333054"/>
            <a:chOff x="7769225" y="250825"/>
            <a:chExt cx="840049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CO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CO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CO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CO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CO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CO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CO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CO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CO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CO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4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4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4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4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4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3219" y="6639740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s-CO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2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ext</a:t>
            </a:r>
            <a:r>
              <a:rPr lang="es-CO" dirty="0"/>
              <a:t> </a:t>
            </a:r>
            <a:r>
              <a:rPr lang="es-CO" dirty="0" err="1"/>
              <a:t>styles</a:t>
            </a:r>
            <a:endParaRPr lang="es-CO" dirty="0"/>
          </a:p>
          <a:p>
            <a:pPr lvl="1" latinLnBrk="0"/>
            <a:r>
              <a:rPr lang="es-CO" dirty="0" err="1"/>
              <a:t>Second</a:t>
            </a:r>
            <a:r>
              <a:rPr lang="es-CO" dirty="0"/>
              <a:t> </a:t>
            </a:r>
            <a:r>
              <a:rPr lang="es-CO" dirty="0" err="1"/>
              <a:t>level</a:t>
            </a:r>
            <a:endParaRPr lang="es-CO" dirty="0"/>
          </a:p>
          <a:p>
            <a:pPr lvl="2" latinLnBrk="0"/>
            <a:r>
              <a:rPr lang="es-CO" dirty="0" err="1"/>
              <a:t>Third</a:t>
            </a:r>
            <a:r>
              <a:rPr lang="es-CO" dirty="0"/>
              <a:t> </a:t>
            </a:r>
            <a:r>
              <a:rPr lang="es-CO" dirty="0" err="1"/>
              <a:t>level</a:t>
            </a:r>
            <a:endParaRPr lang="es-CO" dirty="0"/>
          </a:p>
          <a:p>
            <a:pPr lvl="3" latinLnBrk="0"/>
            <a:r>
              <a:rPr lang="es-CO" dirty="0" err="1"/>
              <a:t>Fourth</a:t>
            </a:r>
            <a:r>
              <a:rPr lang="es-CO" dirty="0"/>
              <a:t> </a:t>
            </a:r>
            <a:r>
              <a:rPr lang="es-CO" dirty="0" err="1"/>
              <a:t>level</a:t>
            </a:r>
            <a:endParaRPr lang="es-CO" dirty="0"/>
          </a:p>
          <a:p>
            <a:pPr lvl="4" latinLnBrk="0"/>
            <a:r>
              <a:rPr lang="es-CO" dirty="0" err="1"/>
              <a:t>Fifth</a:t>
            </a:r>
            <a:r>
              <a:rPr lang="es-CO" dirty="0"/>
              <a:t> </a:t>
            </a:r>
            <a:r>
              <a:rPr lang="es-CO" dirty="0" err="1"/>
              <a:t>level</a:t>
            </a:r>
            <a:endParaRPr lang="es-CO" dirty="0"/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EB8F58D9-5386-40A1-83C8-92538B71677A}"/>
              </a:ext>
            </a:extLst>
          </p:cNvPr>
          <p:cNvSpPr>
            <a:spLocks/>
          </p:cNvSpPr>
          <p:nvPr/>
        </p:nvSpPr>
        <p:spPr>
          <a:xfrm>
            <a:off x="11495662" y="6560370"/>
            <a:ext cx="440358" cy="297630"/>
          </a:xfrm>
          <a:custGeom>
            <a:avLst/>
            <a:gdLst>
              <a:gd name="connsiteX0" fmla="*/ 0 w 3098533"/>
              <a:gd name="connsiteY0" fmla="*/ 0 h 2094271"/>
              <a:gd name="connsiteX1" fmla="*/ 2358072 w 3098533"/>
              <a:gd name="connsiteY1" fmla="*/ 0 h 2094271"/>
              <a:gd name="connsiteX2" fmla="*/ 3098533 w 3098533"/>
              <a:gd name="connsiteY2" fmla="*/ 2094271 h 2094271"/>
              <a:gd name="connsiteX3" fmla="*/ 740461 w 3098533"/>
              <a:gd name="connsiteY3" fmla="*/ 2094271 h 2094271"/>
              <a:gd name="connsiteX4" fmla="*/ 0 w 3098533"/>
              <a:gd name="connsiteY4" fmla="*/ 0 h 2094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8533" h="2094271">
                <a:moveTo>
                  <a:pt x="0" y="0"/>
                </a:moveTo>
                <a:lnTo>
                  <a:pt x="2358072" y="0"/>
                </a:lnTo>
                <a:lnTo>
                  <a:pt x="3098533" y="2094271"/>
                </a:lnTo>
                <a:lnTo>
                  <a:pt x="740461" y="209427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63" name="Slide Number">
            <a:extLst>
              <a:ext uri="{FF2B5EF4-FFF2-40B4-BE49-F238E27FC236}">
                <a16:creationId xmlns:a16="http://schemas.microsoft.com/office/drawing/2014/main" id="{0001E0F9-F841-4179-83AB-629C0D318BAA}"/>
              </a:ext>
            </a:extLst>
          </p:cNvPr>
          <p:cNvSpPr txBox="1">
            <a:spLocks/>
          </p:cNvSpPr>
          <p:nvPr/>
        </p:nvSpPr>
        <p:spPr bwMode="gray">
          <a:xfrm>
            <a:off x="11652053" y="6627164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CO" sz="816" smtClean="0">
                <a:solidFill>
                  <a:schemeClr val="bg1"/>
                </a:solidFill>
              </a:rPr>
              <a:pPr lvl="0"/>
              <a:t>‹Nº›</a:t>
            </a:fld>
            <a:endParaRPr lang="es-CO" sz="816" dirty="0">
              <a:solidFill>
                <a:schemeClr val="bg1"/>
              </a:solidFill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AE4C287A-7434-4E17-9EEE-B07B6568793B}"/>
              </a:ext>
            </a:extLst>
          </p:cNvPr>
          <p:cNvGrpSpPr/>
          <p:nvPr/>
        </p:nvGrpSpPr>
        <p:grpSpPr>
          <a:xfrm>
            <a:off x="10829031" y="6608571"/>
            <a:ext cx="618531" cy="165283"/>
            <a:chOff x="4797041" y="952089"/>
            <a:chExt cx="2281238" cy="609599"/>
          </a:xfrm>
        </p:grpSpPr>
        <p:sp>
          <p:nvSpPr>
            <p:cNvPr id="73" name="Freeform 538">
              <a:extLst>
                <a:ext uri="{FF2B5EF4-FFF2-40B4-BE49-F238E27FC236}">
                  <a16:creationId xmlns:a16="http://schemas.microsoft.com/office/drawing/2014/main" id="{F42844E3-FA3E-45AE-9B99-16AD552276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36841" y="952089"/>
              <a:ext cx="482600" cy="609599"/>
            </a:xfrm>
            <a:custGeom>
              <a:avLst/>
              <a:gdLst>
                <a:gd name="T0" fmla="*/ 52 w 195"/>
                <a:gd name="T1" fmla="*/ 30 h 244"/>
                <a:gd name="T2" fmla="*/ 161 w 195"/>
                <a:gd name="T3" fmla="*/ 10 h 244"/>
                <a:gd name="T4" fmla="*/ 194 w 195"/>
                <a:gd name="T5" fmla="*/ 33 h 244"/>
                <a:gd name="T6" fmla="*/ 187 w 195"/>
                <a:gd name="T7" fmla="*/ 66 h 244"/>
                <a:gd name="T8" fmla="*/ 121 w 195"/>
                <a:gd name="T9" fmla="*/ 51 h 244"/>
                <a:gd name="T10" fmla="*/ 69 w 195"/>
                <a:gd name="T11" fmla="*/ 93 h 244"/>
                <a:gd name="T12" fmla="*/ 63 w 195"/>
                <a:gd name="T13" fmla="*/ 167 h 244"/>
                <a:gd name="T14" fmla="*/ 95 w 195"/>
                <a:gd name="T15" fmla="*/ 195 h 244"/>
                <a:gd name="T16" fmla="*/ 163 w 195"/>
                <a:gd name="T17" fmla="*/ 179 h 244"/>
                <a:gd name="T18" fmla="*/ 153 w 195"/>
                <a:gd name="T19" fmla="*/ 221 h 244"/>
                <a:gd name="T20" fmla="*/ 122 w 195"/>
                <a:gd name="T21" fmla="*/ 239 h 244"/>
                <a:gd name="T22" fmla="*/ 28 w 195"/>
                <a:gd name="T23" fmla="*/ 216 h 244"/>
                <a:gd name="T24" fmla="*/ 2 w 195"/>
                <a:gd name="T25" fmla="*/ 136 h 244"/>
                <a:gd name="T26" fmla="*/ 52 w 195"/>
                <a:gd name="T27" fmla="*/ 3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244">
                  <a:moveTo>
                    <a:pt x="52" y="30"/>
                  </a:moveTo>
                  <a:cubicBezTo>
                    <a:pt x="81" y="7"/>
                    <a:pt x="124" y="0"/>
                    <a:pt x="161" y="10"/>
                  </a:cubicBezTo>
                  <a:cubicBezTo>
                    <a:pt x="175" y="13"/>
                    <a:pt x="191" y="20"/>
                    <a:pt x="194" y="33"/>
                  </a:cubicBezTo>
                  <a:cubicBezTo>
                    <a:pt x="195" y="45"/>
                    <a:pt x="189" y="55"/>
                    <a:pt x="187" y="66"/>
                  </a:cubicBezTo>
                  <a:cubicBezTo>
                    <a:pt x="170" y="52"/>
                    <a:pt x="144" y="48"/>
                    <a:pt x="121" y="51"/>
                  </a:cubicBezTo>
                  <a:cubicBezTo>
                    <a:pt x="96" y="55"/>
                    <a:pt x="78" y="74"/>
                    <a:pt x="69" y="93"/>
                  </a:cubicBezTo>
                  <a:cubicBezTo>
                    <a:pt x="58" y="117"/>
                    <a:pt x="53" y="143"/>
                    <a:pt x="63" y="167"/>
                  </a:cubicBezTo>
                  <a:cubicBezTo>
                    <a:pt x="68" y="180"/>
                    <a:pt x="80" y="191"/>
                    <a:pt x="95" y="195"/>
                  </a:cubicBezTo>
                  <a:cubicBezTo>
                    <a:pt x="119" y="202"/>
                    <a:pt x="145" y="194"/>
                    <a:pt x="163" y="179"/>
                  </a:cubicBezTo>
                  <a:cubicBezTo>
                    <a:pt x="160" y="193"/>
                    <a:pt x="158" y="208"/>
                    <a:pt x="153" y="221"/>
                  </a:cubicBezTo>
                  <a:cubicBezTo>
                    <a:pt x="149" y="233"/>
                    <a:pt x="134" y="237"/>
                    <a:pt x="122" y="239"/>
                  </a:cubicBezTo>
                  <a:cubicBezTo>
                    <a:pt x="89" y="244"/>
                    <a:pt x="51" y="238"/>
                    <a:pt x="28" y="216"/>
                  </a:cubicBezTo>
                  <a:cubicBezTo>
                    <a:pt x="6" y="195"/>
                    <a:pt x="0" y="164"/>
                    <a:pt x="2" y="136"/>
                  </a:cubicBezTo>
                  <a:cubicBezTo>
                    <a:pt x="3" y="97"/>
                    <a:pt x="18" y="57"/>
                    <a:pt x="52" y="30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74" name="Freeform 539">
              <a:extLst>
                <a:ext uri="{FF2B5EF4-FFF2-40B4-BE49-F238E27FC236}">
                  <a16:creationId xmlns:a16="http://schemas.microsoft.com/office/drawing/2014/main" id="{6CC373D4-7D2A-47E3-B158-3797BAE3CC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666" y="971139"/>
              <a:ext cx="488950" cy="577850"/>
            </a:xfrm>
            <a:custGeom>
              <a:avLst/>
              <a:gdLst>
                <a:gd name="T0" fmla="*/ 41 w 198"/>
                <a:gd name="T1" fmla="*/ 6 h 231"/>
                <a:gd name="T2" fmla="*/ 114 w 198"/>
                <a:gd name="T3" fmla="*/ 1 h 231"/>
                <a:gd name="T4" fmla="*/ 177 w 198"/>
                <a:gd name="T5" fmla="*/ 20 h 231"/>
                <a:gd name="T6" fmla="*/ 182 w 198"/>
                <a:gd name="T7" fmla="*/ 85 h 231"/>
                <a:gd name="T8" fmla="*/ 142 w 198"/>
                <a:gd name="T9" fmla="*/ 107 h 231"/>
                <a:gd name="T10" fmla="*/ 173 w 198"/>
                <a:gd name="T11" fmla="*/ 129 h 231"/>
                <a:gd name="T12" fmla="*/ 155 w 198"/>
                <a:gd name="T13" fmla="*/ 208 h 231"/>
                <a:gd name="T14" fmla="*/ 83 w 198"/>
                <a:gd name="T15" fmla="*/ 230 h 231"/>
                <a:gd name="T16" fmla="*/ 26 w 198"/>
                <a:gd name="T17" fmla="*/ 225 h 231"/>
                <a:gd name="T18" fmla="*/ 5 w 198"/>
                <a:gd name="T19" fmla="*/ 207 h 231"/>
                <a:gd name="T20" fmla="*/ 5 w 198"/>
                <a:gd name="T21" fmla="*/ 169 h 231"/>
                <a:gd name="T22" fmla="*/ 41 w 198"/>
                <a:gd name="T23" fmla="*/ 6 h 231"/>
                <a:gd name="T24" fmla="*/ 86 w 198"/>
                <a:gd name="T25" fmla="*/ 40 h 231"/>
                <a:gd name="T26" fmla="*/ 76 w 198"/>
                <a:gd name="T27" fmla="*/ 86 h 231"/>
                <a:gd name="T28" fmla="*/ 86 w 198"/>
                <a:gd name="T29" fmla="*/ 92 h 231"/>
                <a:gd name="T30" fmla="*/ 132 w 198"/>
                <a:gd name="T31" fmla="*/ 80 h 231"/>
                <a:gd name="T32" fmla="*/ 129 w 198"/>
                <a:gd name="T33" fmla="*/ 43 h 231"/>
                <a:gd name="T34" fmla="*/ 86 w 198"/>
                <a:gd name="T35" fmla="*/ 40 h 231"/>
                <a:gd name="T36" fmla="*/ 67 w 198"/>
                <a:gd name="T37" fmla="*/ 127 h 231"/>
                <a:gd name="T38" fmla="*/ 57 w 198"/>
                <a:gd name="T39" fmla="*/ 172 h 231"/>
                <a:gd name="T40" fmla="*/ 57 w 198"/>
                <a:gd name="T41" fmla="*/ 192 h 231"/>
                <a:gd name="T42" fmla="*/ 109 w 198"/>
                <a:gd name="T43" fmla="*/ 184 h 231"/>
                <a:gd name="T44" fmla="*/ 118 w 198"/>
                <a:gd name="T45" fmla="*/ 136 h 231"/>
                <a:gd name="T46" fmla="*/ 67 w 198"/>
                <a:gd name="T47" fmla="*/ 12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" h="231">
                  <a:moveTo>
                    <a:pt x="41" y="6"/>
                  </a:moveTo>
                  <a:cubicBezTo>
                    <a:pt x="65" y="2"/>
                    <a:pt x="90" y="0"/>
                    <a:pt x="114" y="1"/>
                  </a:cubicBezTo>
                  <a:cubicBezTo>
                    <a:pt x="137" y="2"/>
                    <a:pt x="161" y="6"/>
                    <a:pt x="177" y="20"/>
                  </a:cubicBezTo>
                  <a:cubicBezTo>
                    <a:pt x="197" y="37"/>
                    <a:pt x="198" y="66"/>
                    <a:pt x="182" y="85"/>
                  </a:cubicBezTo>
                  <a:cubicBezTo>
                    <a:pt x="172" y="96"/>
                    <a:pt x="158" y="104"/>
                    <a:pt x="142" y="107"/>
                  </a:cubicBezTo>
                  <a:cubicBezTo>
                    <a:pt x="154" y="112"/>
                    <a:pt x="167" y="118"/>
                    <a:pt x="173" y="129"/>
                  </a:cubicBezTo>
                  <a:cubicBezTo>
                    <a:pt x="187" y="155"/>
                    <a:pt x="179" y="189"/>
                    <a:pt x="155" y="208"/>
                  </a:cubicBezTo>
                  <a:cubicBezTo>
                    <a:pt x="135" y="223"/>
                    <a:pt x="108" y="229"/>
                    <a:pt x="83" y="230"/>
                  </a:cubicBezTo>
                  <a:cubicBezTo>
                    <a:pt x="64" y="231"/>
                    <a:pt x="44" y="230"/>
                    <a:pt x="26" y="225"/>
                  </a:cubicBezTo>
                  <a:cubicBezTo>
                    <a:pt x="16" y="223"/>
                    <a:pt x="8" y="216"/>
                    <a:pt x="5" y="207"/>
                  </a:cubicBezTo>
                  <a:cubicBezTo>
                    <a:pt x="0" y="195"/>
                    <a:pt x="2" y="182"/>
                    <a:pt x="5" y="169"/>
                  </a:cubicBezTo>
                  <a:cubicBezTo>
                    <a:pt x="17" y="115"/>
                    <a:pt x="29" y="60"/>
                    <a:pt x="41" y="6"/>
                  </a:cubicBezTo>
                  <a:close/>
                  <a:moveTo>
                    <a:pt x="86" y="40"/>
                  </a:moveTo>
                  <a:cubicBezTo>
                    <a:pt x="83" y="55"/>
                    <a:pt x="79" y="71"/>
                    <a:pt x="76" y="86"/>
                  </a:cubicBezTo>
                  <a:cubicBezTo>
                    <a:pt x="75" y="91"/>
                    <a:pt x="81" y="93"/>
                    <a:pt x="86" y="92"/>
                  </a:cubicBezTo>
                  <a:cubicBezTo>
                    <a:pt x="102" y="93"/>
                    <a:pt x="120" y="91"/>
                    <a:pt x="132" y="80"/>
                  </a:cubicBezTo>
                  <a:cubicBezTo>
                    <a:pt x="143" y="70"/>
                    <a:pt x="144" y="50"/>
                    <a:pt x="129" y="43"/>
                  </a:cubicBezTo>
                  <a:cubicBezTo>
                    <a:pt x="116" y="36"/>
                    <a:pt x="100" y="39"/>
                    <a:pt x="86" y="40"/>
                  </a:cubicBezTo>
                  <a:close/>
                  <a:moveTo>
                    <a:pt x="67" y="127"/>
                  </a:moveTo>
                  <a:cubicBezTo>
                    <a:pt x="63" y="142"/>
                    <a:pt x="60" y="157"/>
                    <a:pt x="57" y="172"/>
                  </a:cubicBezTo>
                  <a:cubicBezTo>
                    <a:pt x="56" y="179"/>
                    <a:pt x="52" y="186"/>
                    <a:pt x="57" y="192"/>
                  </a:cubicBezTo>
                  <a:cubicBezTo>
                    <a:pt x="75" y="192"/>
                    <a:pt x="93" y="193"/>
                    <a:pt x="109" y="184"/>
                  </a:cubicBezTo>
                  <a:cubicBezTo>
                    <a:pt x="127" y="175"/>
                    <a:pt x="133" y="150"/>
                    <a:pt x="118" y="136"/>
                  </a:cubicBezTo>
                  <a:cubicBezTo>
                    <a:pt x="104" y="125"/>
                    <a:pt x="84" y="128"/>
                    <a:pt x="67" y="127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75" name="Freeform 540">
              <a:extLst>
                <a:ext uri="{FF2B5EF4-FFF2-40B4-BE49-F238E27FC236}">
                  <a16:creationId xmlns:a16="http://schemas.microsoft.com/office/drawing/2014/main" id="{EE76D771-9744-40D7-91F3-7EE46F718F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84516" y="975901"/>
              <a:ext cx="514350" cy="573087"/>
            </a:xfrm>
            <a:custGeom>
              <a:avLst/>
              <a:gdLst>
                <a:gd name="T0" fmla="*/ 50 w 208"/>
                <a:gd name="T1" fmla="*/ 6 h 229"/>
                <a:gd name="T2" fmla="*/ 102 w 208"/>
                <a:gd name="T3" fmla="*/ 0 h 229"/>
                <a:gd name="T4" fmla="*/ 174 w 208"/>
                <a:gd name="T5" fmla="*/ 12 h 229"/>
                <a:gd name="T6" fmla="*/ 202 w 208"/>
                <a:gd name="T7" fmla="*/ 51 h 229"/>
                <a:gd name="T8" fmla="*/ 151 w 208"/>
                <a:gd name="T9" fmla="*/ 143 h 229"/>
                <a:gd name="T10" fmla="*/ 70 w 208"/>
                <a:gd name="T11" fmla="*/ 154 h 229"/>
                <a:gd name="T12" fmla="*/ 58 w 208"/>
                <a:gd name="T13" fmla="*/ 207 h 229"/>
                <a:gd name="T14" fmla="*/ 38 w 208"/>
                <a:gd name="T15" fmla="*/ 228 h 229"/>
                <a:gd name="T16" fmla="*/ 0 w 208"/>
                <a:gd name="T17" fmla="*/ 228 h 229"/>
                <a:gd name="T18" fmla="*/ 50 w 208"/>
                <a:gd name="T19" fmla="*/ 6 h 229"/>
                <a:gd name="T20" fmla="*/ 99 w 208"/>
                <a:gd name="T21" fmla="*/ 39 h 229"/>
                <a:gd name="T22" fmla="*/ 84 w 208"/>
                <a:gd name="T23" fmla="*/ 104 h 229"/>
                <a:gd name="T24" fmla="*/ 91 w 208"/>
                <a:gd name="T25" fmla="*/ 114 h 229"/>
                <a:gd name="T26" fmla="*/ 130 w 208"/>
                <a:gd name="T27" fmla="*/ 108 h 229"/>
                <a:gd name="T28" fmla="*/ 151 w 208"/>
                <a:gd name="T29" fmla="*/ 51 h 229"/>
                <a:gd name="T30" fmla="*/ 99 w 208"/>
                <a:gd name="T31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229">
                  <a:moveTo>
                    <a:pt x="50" y="6"/>
                  </a:moveTo>
                  <a:cubicBezTo>
                    <a:pt x="66" y="1"/>
                    <a:pt x="85" y="1"/>
                    <a:pt x="102" y="0"/>
                  </a:cubicBezTo>
                  <a:cubicBezTo>
                    <a:pt x="127" y="0"/>
                    <a:pt x="153" y="0"/>
                    <a:pt x="174" y="12"/>
                  </a:cubicBezTo>
                  <a:cubicBezTo>
                    <a:pt x="190" y="20"/>
                    <a:pt x="200" y="35"/>
                    <a:pt x="202" y="51"/>
                  </a:cubicBezTo>
                  <a:cubicBezTo>
                    <a:pt x="208" y="87"/>
                    <a:pt x="188" y="125"/>
                    <a:pt x="151" y="143"/>
                  </a:cubicBezTo>
                  <a:cubicBezTo>
                    <a:pt x="126" y="155"/>
                    <a:pt x="98" y="155"/>
                    <a:pt x="70" y="154"/>
                  </a:cubicBezTo>
                  <a:cubicBezTo>
                    <a:pt x="66" y="171"/>
                    <a:pt x="63" y="189"/>
                    <a:pt x="58" y="207"/>
                  </a:cubicBezTo>
                  <a:cubicBezTo>
                    <a:pt x="56" y="216"/>
                    <a:pt x="49" y="225"/>
                    <a:pt x="38" y="228"/>
                  </a:cubicBezTo>
                  <a:cubicBezTo>
                    <a:pt x="25" y="229"/>
                    <a:pt x="13" y="228"/>
                    <a:pt x="0" y="228"/>
                  </a:cubicBezTo>
                  <a:cubicBezTo>
                    <a:pt x="17" y="154"/>
                    <a:pt x="33" y="80"/>
                    <a:pt x="50" y="6"/>
                  </a:cubicBezTo>
                  <a:close/>
                  <a:moveTo>
                    <a:pt x="99" y="39"/>
                  </a:moveTo>
                  <a:cubicBezTo>
                    <a:pt x="94" y="61"/>
                    <a:pt x="89" y="82"/>
                    <a:pt x="84" y="104"/>
                  </a:cubicBezTo>
                  <a:cubicBezTo>
                    <a:pt x="83" y="108"/>
                    <a:pt x="87" y="112"/>
                    <a:pt x="91" y="114"/>
                  </a:cubicBezTo>
                  <a:cubicBezTo>
                    <a:pt x="104" y="116"/>
                    <a:pt x="118" y="114"/>
                    <a:pt x="130" y="108"/>
                  </a:cubicBezTo>
                  <a:cubicBezTo>
                    <a:pt x="152" y="97"/>
                    <a:pt x="161" y="71"/>
                    <a:pt x="151" y="51"/>
                  </a:cubicBezTo>
                  <a:cubicBezTo>
                    <a:pt x="140" y="35"/>
                    <a:pt x="116" y="38"/>
                    <a:pt x="99" y="39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76" name="Freeform 541">
              <a:extLst>
                <a:ext uri="{FF2B5EF4-FFF2-40B4-BE49-F238E27FC236}">
                  <a16:creationId xmlns:a16="http://schemas.microsoft.com/office/drawing/2014/main" id="{2C624AAB-EEC8-48F1-B71D-113F37C7CE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6491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3 w 74"/>
                <a:gd name="T5" fmla="*/ 12 h 89"/>
                <a:gd name="T6" fmla="*/ 63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8" y="27"/>
                    <a:pt x="18" y="10"/>
                    <a:pt x="37" y="4"/>
                  </a:cubicBezTo>
                  <a:cubicBezTo>
                    <a:pt x="47" y="0"/>
                    <a:pt x="57" y="5"/>
                    <a:pt x="63" y="12"/>
                  </a:cubicBezTo>
                  <a:cubicBezTo>
                    <a:pt x="74" y="36"/>
                    <a:pt x="72" y="64"/>
                    <a:pt x="63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77" name="Freeform 542">
              <a:extLst>
                <a:ext uri="{FF2B5EF4-FFF2-40B4-BE49-F238E27FC236}">
                  <a16:creationId xmlns:a16="http://schemas.microsoft.com/office/drawing/2014/main" id="{9F7706B4-407D-4EE9-85C0-1509EEF7D0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7754" y="1036226"/>
              <a:ext cx="390525" cy="477837"/>
            </a:xfrm>
            <a:custGeom>
              <a:avLst/>
              <a:gdLst>
                <a:gd name="T0" fmla="*/ 87 w 158"/>
                <a:gd name="T1" fmla="*/ 0 h 191"/>
                <a:gd name="T2" fmla="*/ 139 w 158"/>
                <a:gd name="T3" fmla="*/ 44 h 191"/>
                <a:gd name="T4" fmla="*/ 156 w 158"/>
                <a:gd name="T5" fmla="*/ 88 h 191"/>
                <a:gd name="T6" fmla="*/ 137 w 158"/>
                <a:gd name="T7" fmla="*/ 125 h 191"/>
                <a:gd name="T8" fmla="*/ 71 w 158"/>
                <a:gd name="T9" fmla="*/ 180 h 191"/>
                <a:gd name="T10" fmla="*/ 35 w 158"/>
                <a:gd name="T11" fmla="*/ 187 h 191"/>
                <a:gd name="T12" fmla="*/ 0 w 158"/>
                <a:gd name="T13" fmla="*/ 157 h 191"/>
                <a:gd name="T14" fmla="*/ 87 w 158"/>
                <a:gd name="T15" fmla="*/ 77 h 191"/>
                <a:gd name="T16" fmla="*/ 87 w 158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191">
                  <a:moveTo>
                    <a:pt x="87" y="0"/>
                  </a:moveTo>
                  <a:cubicBezTo>
                    <a:pt x="109" y="9"/>
                    <a:pt x="124" y="27"/>
                    <a:pt x="139" y="44"/>
                  </a:cubicBezTo>
                  <a:cubicBezTo>
                    <a:pt x="150" y="56"/>
                    <a:pt x="158" y="72"/>
                    <a:pt x="156" y="88"/>
                  </a:cubicBezTo>
                  <a:cubicBezTo>
                    <a:pt x="155" y="102"/>
                    <a:pt x="147" y="114"/>
                    <a:pt x="137" y="125"/>
                  </a:cubicBezTo>
                  <a:cubicBezTo>
                    <a:pt x="119" y="146"/>
                    <a:pt x="96" y="165"/>
                    <a:pt x="71" y="180"/>
                  </a:cubicBezTo>
                  <a:cubicBezTo>
                    <a:pt x="60" y="186"/>
                    <a:pt x="48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7" y="139"/>
                    <a:pt x="71" y="113"/>
                    <a:pt x="87" y="77"/>
                  </a:cubicBezTo>
                  <a:cubicBezTo>
                    <a:pt x="96" y="52"/>
                    <a:pt x="98" y="24"/>
                    <a:pt x="87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78" name="Freeform 543">
              <a:extLst>
                <a:ext uri="{FF2B5EF4-FFF2-40B4-BE49-F238E27FC236}">
                  <a16:creationId xmlns:a16="http://schemas.microsoft.com/office/drawing/2014/main" id="{D6DABB6B-85DC-4FA3-A00C-412C0C3FB0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366" y="1006064"/>
              <a:ext cx="182563" cy="222250"/>
            </a:xfrm>
            <a:custGeom>
              <a:avLst/>
              <a:gdLst>
                <a:gd name="T0" fmla="*/ 0 w 74"/>
                <a:gd name="T1" fmla="*/ 43 h 89"/>
                <a:gd name="T2" fmla="*/ 37 w 74"/>
                <a:gd name="T3" fmla="*/ 4 h 89"/>
                <a:gd name="T4" fmla="*/ 62 w 74"/>
                <a:gd name="T5" fmla="*/ 12 h 89"/>
                <a:gd name="T6" fmla="*/ 62 w 74"/>
                <a:gd name="T7" fmla="*/ 89 h 89"/>
                <a:gd name="T8" fmla="*/ 0 w 74"/>
                <a:gd name="T9" fmla="*/ 4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9">
                  <a:moveTo>
                    <a:pt x="0" y="43"/>
                  </a:moveTo>
                  <a:cubicBezTo>
                    <a:pt x="7" y="27"/>
                    <a:pt x="18" y="10"/>
                    <a:pt x="37" y="4"/>
                  </a:cubicBezTo>
                  <a:cubicBezTo>
                    <a:pt x="46" y="0"/>
                    <a:pt x="57" y="5"/>
                    <a:pt x="62" y="12"/>
                  </a:cubicBezTo>
                  <a:cubicBezTo>
                    <a:pt x="74" y="36"/>
                    <a:pt x="71" y="64"/>
                    <a:pt x="62" y="89"/>
                  </a:cubicBezTo>
                  <a:cubicBezTo>
                    <a:pt x="45" y="70"/>
                    <a:pt x="24" y="55"/>
                    <a:pt x="0" y="43"/>
                  </a:cubicBezTo>
                  <a:close/>
                </a:path>
              </a:pathLst>
            </a:custGeom>
            <a:solidFill>
              <a:srgbClr val="014B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  <p:sp>
          <p:nvSpPr>
            <p:cNvPr id="79" name="Freeform 544">
              <a:extLst>
                <a:ext uri="{FF2B5EF4-FFF2-40B4-BE49-F238E27FC236}">
                  <a16:creationId xmlns:a16="http://schemas.microsoft.com/office/drawing/2014/main" id="{F5793161-6CEC-4AEC-A378-50BB4043AC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041" y="1036226"/>
              <a:ext cx="388938" cy="477837"/>
            </a:xfrm>
            <a:custGeom>
              <a:avLst/>
              <a:gdLst>
                <a:gd name="T0" fmla="*/ 86 w 157"/>
                <a:gd name="T1" fmla="*/ 0 h 191"/>
                <a:gd name="T2" fmla="*/ 138 w 157"/>
                <a:gd name="T3" fmla="*/ 44 h 191"/>
                <a:gd name="T4" fmla="*/ 155 w 157"/>
                <a:gd name="T5" fmla="*/ 88 h 191"/>
                <a:gd name="T6" fmla="*/ 137 w 157"/>
                <a:gd name="T7" fmla="*/ 125 h 191"/>
                <a:gd name="T8" fmla="*/ 70 w 157"/>
                <a:gd name="T9" fmla="*/ 180 h 191"/>
                <a:gd name="T10" fmla="*/ 35 w 157"/>
                <a:gd name="T11" fmla="*/ 187 h 191"/>
                <a:gd name="T12" fmla="*/ 0 w 157"/>
                <a:gd name="T13" fmla="*/ 157 h 191"/>
                <a:gd name="T14" fmla="*/ 86 w 157"/>
                <a:gd name="T15" fmla="*/ 77 h 191"/>
                <a:gd name="T16" fmla="*/ 86 w 157"/>
                <a:gd name="T17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191">
                  <a:moveTo>
                    <a:pt x="86" y="0"/>
                  </a:moveTo>
                  <a:cubicBezTo>
                    <a:pt x="108" y="9"/>
                    <a:pt x="124" y="27"/>
                    <a:pt x="138" y="44"/>
                  </a:cubicBezTo>
                  <a:cubicBezTo>
                    <a:pt x="150" y="56"/>
                    <a:pt x="157" y="72"/>
                    <a:pt x="155" y="88"/>
                  </a:cubicBezTo>
                  <a:cubicBezTo>
                    <a:pt x="154" y="102"/>
                    <a:pt x="146" y="114"/>
                    <a:pt x="137" y="125"/>
                  </a:cubicBezTo>
                  <a:cubicBezTo>
                    <a:pt x="118" y="146"/>
                    <a:pt x="95" y="165"/>
                    <a:pt x="70" y="180"/>
                  </a:cubicBezTo>
                  <a:cubicBezTo>
                    <a:pt x="60" y="186"/>
                    <a:pt x="47" y="191"/>
                    <a:pt x="35" y="187"/>
                  </a:cubicBezTo>
                  <a:cubicBezTo>
                    <a:pt x="18" y="184"/>
                    <a:pt x="7" y="170"/>
                    <a:pt x="0" y="157"/>
                  </a:cubicBezTo>
                  <a:cubicBezTo>
                    <a:pt x="36" y="139"/>
                    <a:pt x="71" y="113"/>
                    <a:pt x="86" y="77"/>
                  </a:cubicBezTo>
                  <a:cubicBezTo>
                    <a:pt x="95" y="52"/>
                    <a:pt x="98" y="24"/>
                    <a:pt x="86" y="0"/>
                  </a:cubicBezTo>
                  <a:close/>
                </a:path>
              </a:pathLst>
            </a:custGeom>
            <a:solidFill>
              <a:srgbClr val="F5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s-CO" sz="1837" dirty="0"/>
            </a:p>
          </p:txBody>
        </p: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6B1E7A07-9261-DD1F-7E4E-7BBD9F023D0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87277" y="6668814"/>
            <a:ext cx="1840057" cy="125547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ES" sz="816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4229305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</p:sldLayoutIdLst>
  <p:hf hdr="0" ftr="0" dt="0"/>
  <p:txStyles>
    <p:titleStyle>
      <a:lvl1pPr algn="l" defTabSz="1218090" rtl="0" eaLnBrk="1" fontAlgn="base" hangingPunct="1">
        <a:spcBef>
          <a:spcPct val="0"/>
        </a:spcBef>
        <a:spcAft>
          <a:spcPct val="0"/>
        </a:spcAft>
        <a:tabLst>
          <a:tab pos="367155" algn="l"/>
        </a:tabLst>
        <a:defRPr sz="2653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0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0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0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0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2" algn="l" defTabSz="1218090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07" algn="l" defTabSz="1218090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09" algn="l" defTabSz="1218090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14" algn="l" defTabSz="1218090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5" indent="-194672" algn="l" defTabSz="91352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0" indent="-253441" algn="l" defTabSz="91352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5" indent="-157941" algn="l" defTabSz="91352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3998" indent="-132231" algn="l" defTabSz="913523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86" indent="-177099" algn="l" defTabSz="12180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86" indent="-177099" algn="l" defTabSz="12180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86" indent="-177099" algn="l" defTabSz="12180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86" indent="-177099" algn="l" defTabSz="12180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0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2" algn="l" defTabSz="124400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07" algn="l" defTabSz="124400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09" algn="l" defTabSz="124400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14" algn="l" defTabSz="124400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16" algn="l" defTabSz="124400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21" algn="l" defTabSz="124400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24" algn="l" defTabSz="124400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29" algn="l" defTabSz="1244007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2B99AA3C-786B-40F1-A844-A7C8836B5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8" imgW="216" imgH="216" progId="TCLayout.ActiveDocument.1">
                  <p:embed/>
                </p:oleObj>
              </mc:Choice>
              <mc:Fallback>
                <p:oleObj name="Diapositiva de think-cell" r:id="rId18" imgW="216" imgH="216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2B99AA3C-786B-40F1-A844-A7C8836B5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B5DADCFB-FEF5-4D93-9B6F-EDF6E0C9A2D5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A90E041-01E7-4F9A-9726-D07F2365F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7E6AF17-7565-4C15-B898-A9D727190F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2EB1197-6873-469E-BCC5-7758734C62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6DC13F-526E-44ED-8CCE-1FE2BAD0B5A2}" type="datetimeFigureOut">
              <a:rPr lang="es-PE" smtClean="0"/>
              <a:t>26/04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17C433F-A334-47CA-859B-700DCD2D82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62B5C7D-EA52-4AC0-84B5-DD705AB2C4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B0B90-8E0D-46D5-91CA-C1138F3D6B7F}" type="slidenum">
              <a:rPr lang="es-PE" smtClean="0"/>
              <a:t>‹Nº›</a:t>
            </a:fld>
            <a:endParaRPr lang="es-P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F11D462-8E18-9675-0152-5F3E73888C4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4102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48.svg"/><Relationship Id="rId4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svg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42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6.jpeg"/><Relationship Id="rId7" Type="http://schemas.openxmlformats.org/officeDocument/2006/relationships/image" Target="../media/image29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4.png"/><Relationship Id="rId9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1.png"/><Relationship Id="rId3" Type="http://schemas.openxmlformats.org/officeDocument/2006/relationships/image" Target="../media/image34.jpeg"/><Relationship Id="rId7" Type="http://schemas.openxmlformats.org/officeDocument/2006/relationships/image" Target="../media/image38.png"/><Relationship Id="rId12" Type="http://schemas.openxmlformats.org/officeDocument/2006/relationships/image" Target="../media/image2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11" Type="http://schemas.openxmlformats.org/officeDocument/2006/relationships/image" Target="../media/image24.png"/><Relationship Id="rId5" Type="http://schemas.openxmlformats.org/officeDocument/2006/relationships/image" Target="../media/image36.png"/><Relationship Id="rId10" Type="http://schemas.openxmlformats.org/officeDocument/2006/relationships/image" Target="../media/image23.png"/><Relationship Id="rId4" Type="http://schemas.openxmlformats.org/officeDocument/2006/relationships/image" Target="../media/image35.jpeg"/><Relationship Id="rId9" Type="http://schemas.openxmlformats.org/officeDocument/2006/relationships/image" Target="../media/image4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svg"/><Relationship Id="rId4" Type="http://schemas.openxmlformats.org/officeDocument/2006/relationships/image" Target="../media/image4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45.png"/><Relationship Id="rId7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4" Type="http://schemas.openxmlformats.org/officeDocument/2006/relationships/image" Target="../media/image4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1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4" Type="http://schemas.openxmlformats.org/officeDocument/2006/relationships/image" Target="../media/image4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5E6F430-3CA3-4231-AEA4-E0FD60FB41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592" imgH="591" progId="TCLayout.ActiveDocument.1">
                  <p:embed/>
                </p:oleObj>
              </mc:Choice>
              <mc:Fallback>
                <p:oleObj name="Diapositiva de think-cell" r:id="rId3" imgW="592" imgH="59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5E6F430-3CA3-4231-AEA4-E0FD60FB4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C1DD0A13-7F68-435F-9246-C772E034CD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798" y="2837468"/>
            <a:ext cx="6107825" cy="1862574"/>
          </a:xfrm>
        </p:spPr>
        <p:txBody>
          <a:bodyPr vert="horz" anchor="t" anchorCtr="0"/>
          <a:lstStyle/>
          <a:p>
            <a:r>
              <a:rPr lang="es-ES" sz="4000" b="1" dirty="0"/>
              <a:t>Estrategia de Desacople</a:t>
            </a:r>
            <a:br>
              <a:rPr lang="es-ES" sz="4000" b="1" dirty="0"/>
            </a:br>
            <a:r>
              <a:rPr lang="es-ES" sz="4000" b="1" dirty="0"/>
              <a:t>Rutina Onpremise </a:t>
            </a:r>
            <a:r>
              <a:rPr lang="es-ES" sz="4000" b="1" dirty="0">
                <a:sym typeface="Wingdings" panose="05000000000000000000" pitchFamily="2" charset="2"/>
              </a:rPr>
              <a:t> Cloud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36513590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: esquinas redondeadas 6">
            <a:extLst>
              <a:ext uri="{FF2B5EF4-FFF2-40B4-BE49-F238E27FC236}">
                <a16:creationId xmlns:a16="http://schemas.microsoft.com/office/drawing/2014/main" id="{1BC443B3-CDEB-F015-BC97-85893D969DD1}"/>
              </a:ext>
            </a:extLst>
          </p:cNvPr>
          <p:cNvSpPr/>
          <p:nvPr/>
        </p:nvSpPr>
        <p:spPr>
          <a:xfrm>
            <a:off x="1004051" y="1479504"/>
            <a:ext cx="7458814" cy="654416"/>
          </a:xfrm>
          <a:prstGeom prst="roundRect">
            <a:avLst/>
          </a:prstGeom>
          <a:solidFill>
            <a:srgbClr val="FFFFC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PE" dirty="0">
              <a:solidFill>
                <a:schemeClr val="tx1"/>
              </a:solidFill>
            </a:endParaRPr>
          </a:p>
          <a:p>
            <a:r>
              <a:rPr lang="es-PE" dirty="0" err="1">
                <a:solidFill>
                  <a:schemeClr val="tx1"/>
                </a:solidFill>
              </a:rPr>
              <a:t>sh</a:t>
            </a:r>
            <a:r>
              <a:rPr lang="es-PE" dirty="0">
                <a:solidFill>
                  <a:schemeClr val="tx1"/>
                </a:solidFill>
              </a:rPr>
              <a:t> /</a:t>
            </a:r>
            <a:r>
              <a:rPr lang="es-PE" dirty="0" err="1">
                <a:solidFill>
                  <a:schemeClr val="tx1"/>
                </a:solidFill>
              </a:rPr>
              <a:t>prod</a:t>
            </a:r>
            <a:r>
              <a:rPr lang="es-PE" dirty="0">
                <a:solidFill>
                  <a:schemeClr val="tx1"/>
                </a:solidFill>
              </a:rPr>
              <a:t>/</a:t>
            </a:r>
            <a:r>
              <a:rPr lang="es-PE" dirty="0" err="1">
                <a:solidFill>
                  <a:schemeClr val="tx1"/>
                </a:solidFill>
              </a:rPr>
              <a:t>bcp</a:t>
            </a:r>
            <a:r>
              <a:rPr lang="es-PE" dirty="0">
                <a:solidFill>
                  <a:schemeClr val="tx1"/>
                </a:solidFill>
              </a:rPr>
              <a:t>/</a:t>
            </a:r>
            <a:r>
              <a:rPr lang="es-PE" dirty="0" err="1">
                <a:solidFill>
                  <a:schemeClr val="tx1"/>
                </a:solidFill>
              </a:rPr>
              <a:t>ctrl</a:t>
            </a:r>
            <a:r>
              <a:rPr lang="es-PE" dirty="0">
                <a:solidFill>
                  <a:schemeClr val="tx1"/>
                </a:solidFill>
              </a:rPr>
              <a:t>/</a:t>
            </a:r>
            <a:r>
              <a:rPr lang="es-PE" dirty="0" err="1">
                <a:solidFill>
                  <a:schemeClr val="tx1"/>
                </a:solidFill>
              </a:rPr>
              <a:t>ksh</a:t>
            </a:r>
            <a:r>
              <a:rPr lang="es-PE" dirty="0">
                <a:solidFill>
                  <a:schemeClr val="tx1"/>
                </a:solidFill>
              </a:rPr>
              <a:t>/</a:t>
            </a:r>
            <a:r>
              <a:rPr lang="es-PE" b="1" dirty="0" err="1">
                <a:solidFill>
                  <a:schemeClr val="tx1"/>
                </a:solidFill>
              </a:rPr>
              <a:t>PRC_EjecutaJobs.ksh</a:t>
            </a:r>
            <a:r>
              <a:rPr lang="es-PE" b="1" dirty="0">
                <a:solidFill>
                  <a:schemeClr val="tx1"/>
                </a:solidFill>
              </a:rPr>
              <a:t> </a:t>
            </a:r>
            <a:r>
              <a:rPr lang="es-PE" dirty="0">
                <a:solidFill>
                  <a:schemeClr val="tx1"/>
                </a:solidFill>
              </a:rPr>
              <a:t>&lt;PROCESO&gt; &lt;MODULO&gt;</a:t>
            </a:r>
            <a:r>
              <a:rPr lang="es-PE" dirty="0"/>
              <a:t>V</a:t>
            </a:r>
          </a:p>
          <a:p>
            <a:pPr algn="ctr"/>
            <a:endParaRPr lang="es-PE" dirty="0">
              <a:solidFill>
                <a:schemeClr val="tx1"/>
              </a:solidFill>
            </a:endParaRP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3F4C4EC2-E021-2DF9-024C-1FACAD9E9B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4052" y="606156"/>
            <a:ext cx="10515600" cy="433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56957">
              <a:defRPr/>
            </a:pPr>
            <a:r>
              <a:rPr lang="es-MX" sz="24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Ejecución de procesos en dinámico (demanda)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F7A3F266-66A5-168D-268F-F2F0338C24DB}"/>
              </a:ext>
            </a:extLst>
          </p:cNvPr>
          <p:cNvGrpSpPr/>
          <p:nvPr/>
        </p:nvGrpSpPr>
        <p:grpSpPr>
          <a:xfrm>
            <a:off x="388757" y="543668"/>
            <a:ext cx="615296" cy="615296"/>
            <a:chOff x="536072" y="928559"/>
            <a:chExt cx="615296" cy="615296"/>
          </a:xfrm>
        </p:grpSpPr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EB2F6811-72C9-064D-EF19-D6165569E1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536072" y="928559"/>
              <a:ext cx="615296" cy="615296"/>
            </a:xfrm>
            <a:prstGeom prst="rect">
              <a:avLst/>
            </a:prstGeom>
          </p:spPr>
        </p:pic>
        <p:pic>
          <p:nvPicPr>
            <p:cNvPr id="10" name="Picture 19">
              <a:extLst>
                <a:ext uri="{FF2B5EF4-FFF2-40B4-BE49-F238E27FC236}">
                  <a16:creationId xmlns:a16="http://schemas.microsoft.com/office/drawing/2014/main" id="{C7DB686A-B470-F9E8-9B99-245749F99E3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p:blipFill>
          <p:spPr>
            <a:xfrm>
              <a:off x="694405" y="1077362"/>
              <a:ext cx="298629" cy="317690"/>
            </a:xfrm>
            <a:prstGeom prst="rect">
              <a:avLst/>
            </a:prstGeom>
          </p:spPr>
        </p:pic>
      </p:grpSp>
      <p:pic>
        <p:nvPicPr>
          <p:cNvPr id="12" name="Picture 2" descr="Hand Touch icon">
            <a:extLst>
              <a:ext uri="{FF2B5EF4-FFF2-40B4-BE49-F238E27FC236}">
                <a16:creationId xmlns:a16="http://schemas.microsoft.com/office/drawing/2014/main" id="{6203DAC4-0182-CA84-B5BF-3D6441DF50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189" y="1613950"/>
            <a:ext cx="531862" cy="519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upo 12">
            <a:extLst>
              <a:ext uri="{FF2B5EF4-FFF2-40B4-BE49-F238E27FC236}">
                <a16:creationId xmlns:a16="http://schemas.microsoft.com/office/drawing/2014/main" id="{8D42DC6E-3347-F0C9-CBFE-1128A6CA8DEB}"/>
              </a:ext>
            </a:extLst>
          </p:cNvPr>
          <p:cNvGrpSpPr/>
          <p:nvPr/>
        </p:nvGrpSpPr>
        <p:grpSpPr>
          <a:xfrm>
            <a:off x="388757" y="2722865"/>
            <a:ext cx="615296" cy="615296"/>
            <a:chOff x="536072" y="928559"/>
            <a:chExt cx="615296" cy="615296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F6B6BFEB-C4C2-5D88-B5E8-46EA952F46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536072" y="928559"/>
              <a:ext cx="615296" cy="615296"/>
            </a:xfrm>
            <a:prstGeom prst="rect">
              <a:avLst/>
            </a:prstGeom>
          </p:spPr>
        </p:pic>
        <p:pic>
          <p:nvPicPr>
            <p:cNvPr id="15" name="Picture 19">
              <a:extLst>
                <a:ext uri="{FF2B5EF4-FFF2-40B4-BE49-F238E27FC236}">
                  <a16:creationId xmlns:a16="http://schemas.microsoft.com/office/drawing/2014/main" id="{0D2F86FF-4C89-E893-7F4A-620C3D2743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p:blipFill>
          <p:spPr>
            <a:xfrm>
              <a:off x="694405" y="1077362"/>
              <a:ext cx="298629" cy="317690"/>
            </a:xfrm>
            <a:prstGeom prst="rect">
              <a:avLst/>
            </a:prstGeom>
          </p:spPr>
        </p:pic>
      </p:grpSp>
      <p:sp>
        <p:nvSpPr>
          <p:cNvPr id="18" name="Título 3">
            <a:extLst>
              <a:ext uri="{FF2B5EF4-FFF2-40B4-BE49-F238E27FC236}">
                <a16:creationId xmlns:a16="http://schemas.microsoft.com/office/drawing/2014/main" id="{882B724D-AAE7-5CDA-7DFE-DE9F27325A35}"/>
              </a:ext>
            </a:extLst>
          </p:cNvPr>
          <p:cNvSpPr txBox="1">
            <a:spLocks/>
          </p:cNvSpPr>
          <p:nvPr/>
        </p:nvSpPr>
        <p:spPr>
          <a:xfrm>
            <a:off x="1004051" y="2815558"/>
            <a:ext cx="10515600" cy="4339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Tw Cen MT" panose="020B0602020104020603" pitchFamily="34" charset="0"/>
                <a:ea typeface="+mj-ea"/>
                <a:cs typeface="+mj-cs"/>
              </a:defRPr>
            </a:lvl1pPr>
          </a:lstStyle>
          <a:p>
            <a:pPr defTabSz="856957">
              <a:defRPr/>
            </a:pPr>
            <a:r>
              <a:rPr lang="es-MX" sz="2400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Ratificación de procesos ejecutados en dinámico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6FA70D79-B137-A9F2-4DDF-5D6B8120735E}"/>
              </a:ext>
            </a:extLst>
          </p:cNvPr>
          <p:cNvSpPr txBox="1"/>
          <p:nvPr/>
        </p:nvSpPr>
        <p:spPr>
          <a:xfrm>
            <a:off x="1004051" y="3300701"/>
            <a:ext cx="913648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PE" sz="1400" dirty="0">
                <a:solidFill>
                  <a:schemeClr val="tx1"/>
                </a:solidFill>
              </a:rPr>
              <a:t>Cuando se sobrescriba la partición actual realizar las siguientes validaciones: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6547382A-5291-22DE-BFC3-9083592A5F60}"/>
              </a:ext>
            </a:extLst>
          </p:cNvPr>
          <p:cNvSpPr txBox="1"/>
          <p:nvPr/>
        </p:nvSpPr>
        <p:spPr>
          <a:xfrm>
            <a:off x="1004051" y="1088858"/>
            <a:ext cx="940891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PE" sz="1400" dirty="0">
                <a:solidFill>
                  <a:schemeClr val="tx1"/>
                </a:solidFill>
              </a:rPr>
              <a:t>Ejecutar el siguiente comando para sobrescribir la partición de la rutina:</a:t>
            </a: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EC657FE2-2F3C-BA64-A069-4688D81906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2273709"/>
              </p:ext>
            </p:extLst>
          </p:nvPr>
        </p:nvGraphicFramePr>
        <p:xfrm>
          <a:off x="1004050" y="3189358"/>
          <a:ext cx="10640860" cy="3213618"/>
        </p:xfrm>
        <a:graphic>
          <a:graphicData uri="http://schemas.openxmlformats.org/drawingml/2006/table">
            <a:tbl>
              <a:tblPr/>
              <a:tblGrid>
                <a:gridCol w="1655462">
                  <a:extLst>
                    <a:ext uri="{9D8B030D-6E8A-4147-A177-3AD203B41FA5}">
                      <a16:colId xmlns:a16="http://schemas.microsoft.com/office/drawing/2014/main" val="1957071480"/>
                    </a:ext>
                  </a:extLst>
                </a:gridCol>
                <a:gridCol w="7532242">
                  <a:extLst>
                    <a:ext uri="{9D8B030D-6E8A-4147-A177-3AD203B41FA5}">
                      <a16:colId xmlns:a16="http://schemas.microsoft.com/office/drawing/2014/main" val="1407266175"/>
                    </a:ext>
                  </a:extLst>
                </a:gridCol>
                <a:gridCol w="726578">
                  <a:extLst>
                    <a:ext uri="{9D8B030D-6E8A-4147-A177-3AD203B41FA5}">
                      <a16:colId xmlns:a16="http://schemas.microsoft.com/office/drawing/2014/main" val="1834908447"/>
                    </a:ext>
                  </a:extLst>
                </a:gridCol>
                <a:gridCol w="726578">
                  <a:extLst>
                    <a:ext uri="{9D8B030D-6E8A-4147-A177-3AD203B41FA5}">
                      <a16:colId xmlns:a16="http://schemas.microsoft.com/office/drawing/2014/main" val="3458020200"/>
                    </a:ext>
                  </a:extLst>
                </a:gridCol>
              </a:tblGrid>
              <a:tr h="129241"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ponsabl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7238181"/>
                  </a:ext>
                </a:extLst>
              </a:tr>
              <a:tr h="500106"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lataforma Datalake Clou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ad RDV/UDV/DD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1349736"/>
                  </a:ext>
                </a:extLst>
              </a:tr>
              <a:tr h="252862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002060"/>
                          </a:highlight>
                          <a:latin typeface="Aptos Narrow" panose="020B0004020202020204" pitchFamily="34" charset="0"/>
                        </a:rPr>
                        <a:t>Etap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002060"/>
                          </a:highlight>
                          <a:latin typeface="Aptos Narrow" panose="020B0004020202020204" pitchFamily="34" charset="0"/>
                        </a:rPr>
                        <a:t>Actividades para ratificació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002060"/>
                          </a:highlight>
                          <a:latin typeface="Aptos Narrow" panose="020B0004020202020204" pitchFamily="34" charset="0"/>
                        </a:rPr>
                        <a:t>Tecnic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002060"/>
                          </a:highlight>
                          <a:latin typeface="Aptos Narrow" panose="020B0004020202020204" pitchFamily="34" charset="0"/>
                        </a:rPr>
                        <a:t>Funcion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6744562"/>
                  </a:ext>
                </a:extLst>
              </a:tr>
              <a:tr h="376484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RE-EJECUCIÓN</a:t>
                      </a:r>
                      <a:b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E PROCESOS EN DINAMIC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btener los conteos de los procesos ADF,ADB,DSTG en </a:t>
                      </a:r>
                      <a:r>
                        <a:rPr lang="es-E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npremise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y </a:t>
                      </a:r>
                      <a:r>
                        <a:rPr lang="es-E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ud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ntes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de la ejecución de los procesos en dinámico.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-</a:t>
                      </a:r>
                    </a:p>
                    <a:p>
                      <a:pPr algn="ctr" fontAlgn="b"/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85344"/>
                  </a:ext>
                </a:extLst>
              </a:tr>
              <a:tr h="376484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OST-EJECUCIÓN</a:t>
                      </a:r>
                      <a:b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DE PROCESOS EN DINAMIC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btener los conteos de los procesos ADF,ADB,DSTG en </a:t>
                      </a:r>
                      <a:r>
                        <a:rPr lang="es-E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npremise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y </a:t>
                      </a:r>
                      <a:r>
                        <a:rPr lang="es-E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oud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espués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de la ejecución de los procesos en dinámico.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-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9121079"/>
                  </a:ext>
                </a:extLst>
              </a:tr>
              <a:tr h="252862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omparar  los conteos obtenidos antes y después de la ejecución de los procesos en dinámico.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-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7814657"/>
                  </a:ext>
                </a:extLst>
              </a:tr>
              <a:tr h="376484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rificar que los procesos ejecutados en dinámico se registren en la tabla de ejecución de Cloud pero no en la tabla de ejecución de </a:t>
                      </a:r>
                      <a:r>
                        <a:rPr lang="es-E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npremise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.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4567805"/>
                  </a:ext>
                </a:extLst>
              </a:tr>
              <a:tr h="252862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visar los Logs de ejecución de los procesos ejecutados en dinámico.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306892"/>
                  </a:ext>
                </a:extLst>
              </a:tr>
              <a:tr h="252862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rificar que la información de los procesos (ADF, ADB). se cargue en Cloud pero no en </a:t>
                      </a:r>
                      <a:r>
                        <a:rPr lang="es-E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npremise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-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6346379"/>
                  </a:ext>
                </a:extLst>
              </a:tr>
              <a:tr h="252862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rificar que la información de los procesos DSTG se cargue tanto en Cloud como en </a:t>
                      </a:r>
                      <a:r>
                        <a:rPr lang="es-E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npremise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69246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14893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o 9">
            <a:extLst>
              <a:ext uri="{FF2B5EF4-FFF2-40B4-BE49-F238E27FC236}">
                <a16:creationId xmlns:a16="http://schemas.microsoft.com/office/drawing/2014/main" id="{AEE05AAA-6813-ADE1-01B1-2A685CBCF14C}"/>
              </a:ext>
            </a:extLst>
          </p:cNvPr>
          <p:cNvGrpSpPr/>
          <p:nvPr/>
        </p:nvGrpSpPr>
        <p:grpSpPr>
          <a:xfrm>
            <a:off x="482063" y="529876"/>
            <a:ext cx="615296" cy="615296"/>
            <a:chOff x="536072" y="928559"/>
            <a:chExt cx="615296" cy="615296"/>
          </a:xfrm>
        </p:grpSpPr>
        <p:pic>
          <p:nvPicPr>
            <p:cNvPr id="11" name="Picture 2">
              <a:extLst>
                <a:ext uri="{FF2B5EF4-FFF2-40B4-BE49-F238E27FC236}">
                  <a16:creationId xmlns:a16="http://schemas.microsoft.com/office/drawing/2014/main" id="{5F1D1382-9FBC-5297-EFE0-21D4B5A2C05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536072" y="928559"/>
              <a:ext cx="615296" cy="615296"/>
            </a:xfrm>
            <a:prstGeom prst="rect">
              <a:avLst/>
            </a:prstGeom>
          </p:spPr>
        </p:pic>
        <p:pic>
          <p:nvPicPr>
            <p:cNvPr id="12" name="Picture 19">
              <a:extLst>
                <a:ext uri="{FF2B5EF4-FFF2-40B4-BE49-F238E27FC236}">
                  <a16:creationId xmlns:a16="http://schemas.microsoft.com/office/drawing/2014/main" id="{15A803C6-7C9A-B347-9E0A-0DAE50138EA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p:blipFill>
          <p:spPr>
            <a:xfrm>
              <a:off x="694405" y="1077362"/>
              <a:ext cx="298629" cy="317690"/>
            </a:xfrm>
            <a:prstGeom prst="rect">
              <a:avLst/>
            </a:prstGeom>
          </p:spPr>
        </p:pic>
      </p:grpSp>
      <p:sp>
        <p:nvSpPr>
          <p:cNvPr id="13" name="Título 3">
            <a:extLst>
              <a:ext uri="{FF2B5EF4-FFF2-40B4-BE49-F238E27FC236}">
                <a16:creationId xmlns:a16="http://schemas.microsoft.com/office/drawing/2014/main" id="{BF08719B-D8F9-322A-5E0F-93D079552ED2}"/>
              </a:ext>
            </a:extLst>
          </p:cNvPr>
          <p:cNvSpPr txBox="1">
            <a:spLocks/>
          </p:cNvSpPr>
          <p:nvPr/>
        </p:nvSpPr>
        <p:spPr>
          <a:xfrm>
            <a:off x="1097358" y="650879"/>
            <a:ext cx="10515600" cy="4339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Tw Cen MT" panose="020B0602020104020603" pitchFamily="34" charset="0"/>
                <a:ea typeface="+mj-ea"/>
                <a:cs typeface="+mj-cs"/>
              </a:defRPr>
            </a:lvl1pPr>
          </a:lstStyle>
          <a:p>
            <a:pPr defTabSz="856957">
              <a:defRPr/>
            </a:pPr>
            <a:r>
              <a:rPr lang="es-MX" sz="2400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Seguimiento y ratificación de procesos ejecutados en rutina de malla</a:t>
            </a:r>
          </a:p>
        </p:txBody>
      </p:sp>
      <p:graphicFrame>
        <p:nvGraphicFramePr>
          <p:cNvPr id="17" name="Tabla 16">
            <a:extLst>
              <a:ext uri="{FF2B5EF4-FFF2-40B4-BE49-F238E27FC236}">
                <a16:creationId xmlns:a16="http://schemas.microsoft.com/office/drawing/2014/main" id="{B40F78BB-5C62-F1E3-204C-B69519F507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7179745"/>
              </p:ext>
            </p:extLst>
          </p:nvPr>
        </p:nvGraphicFramePr>
        <p:xfrm>
          <a:off x="1242526" y="1455624"/>
          <a:ext cx="9851572" cy="2164653"/>
        </p:xfrm>
        <a:graphic>
          <a:graphicData uri="http://schemas.openxmlformats.org/drawingml/2006/table">
            <a:tbl>
              <a:tblPr/>
              <a:tblGrid>
                <a:gridCol w="7484140">
                  <a:extLst>
                    <a:ext uri="{9D8B030D-6E8A-4147-A177-3AD203B41FA5}">
                      <a16:colId xmlns:a16="http://schemas.microsoft.com/office/drawing/2014/main" val="3046994752"/>
                    </a:ext>
                  </a:extLst>
                </a:gridCol>
                <a:gridCol w="1183716">
                  <a:extLst>
                    <a:ext uri="{9D8B030D-6E8A-4147-A177-3AD203B41FA5}">
                      <a16:colId xmlns:a16="http://schemas.microsoft.com/office/drawing/2014/main" val="2052667507"/>
                    </a:ext>
                  </a:extLst>
                </a:gridCol>
                <a:gridCol w="1183716">
                  <a:extLst>
                    <a:ext uri="{9D8B030D-6E8A-4147-A177-3AD203B41FA5}">
                      <a16:colId xmlns:a16="http://schemas.microsoft.com/office/drawing/2014/main" val="4198747524"/>
                    </a:ext>
                  </a:extLst>
                </a:gridCol>
              </a:tblGrid>
              <a:tr h="216465"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sponsabl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3773438"/>
                  </a:ext>
                </a:extLst>
              </a:tr>
              <a:tr h="649396">
                <a:tc>
                  <a:txBody>
                    <a:bodyPr/>
                    <a:lstStyle/>
                    <a:p>
                      <a:pPr algn="l" fontAlgn="b"/>
                      <a:endParaRPr lang="es-PE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lataforma Datalake Clou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1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quad RDV/UDV/DD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8528158"/>
                  </a:ext>
                </a:extLst>
              </a:tr>
              <a:tr h="216465"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002060"/>
                          </a:highlight>
                          <a:latin typeface="Aptos Narrow" panose="020B0004020202020204" pitchFamily="34" charset="0"/>
                        </a:rPr>
                        <a:t>Actividades para ratificació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002060"/>
                          </a:highlight>
                          <a:latin typeface="Aptos Narrow" panose="020B0004020202020204" pitchFamily="34" charset="0"/>
                        </a:rPr>
                        <a:t>Tecnic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002060"/>
                          </a:highlight>
                          <a:latin typeface="Aptos Narrow" panose="020B0004020202020204" pitchFamily="34" charset="0"/>
                        </a:rPr>
                        <a:t>Funcion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0002174"/>
                  </a:ext>
                </a:extLst>
              </a:tr>
              <a:tr h="432931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erificar que los procesos ejecutados en rutina se registren en la tabla de ejecución de Cloud pero no en la tabla de ejecución de </a:t>
                      </a:r>
                      <a:r>
                        <a:rPr lang="es-E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npremise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(ADF,ADB,DSTG).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3489477"/>
                  </a:ext>
                </a:extLst>
              </a:tr>
              <a:tr h="216465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lidar la ingesta de los procesos ADF,ADB realizando conteos de registros en Cloud.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X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6056511"/>
                  </a:ext>
                </a:extLst>
              </a:tr>
              <a:tr h="432931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lidar la ingesta de los procesos DSTG realizando conteos de registros en Cloud y Onpremise.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X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753537"/>
                  </a:ext>
                </a:extLst>
              </a:tr>
            </a:tbl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2A1BA4EA-4B9F-4FDB-F0B9-DFCBE623020B}"/>
              </a:ext>
            </a:extLst>
          </p:cNvPr>
          <p:cNvSpPr txBox="1"/>
          <p:nvPr/>
        </p:nvSpPr>
        <p:spPr>
          <a:xfrm>
            <a:off x="1097358" y="4773013"/>
            <a:ext cx="10515600" cy="817245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s-PE" sz="1400" dirty="0" err="1"/>
              <a:t>sh</a:t>
            </a:r>
            <a:r>
              <a:rPr lang="es-PE" sz="1400" dirty="0"/>
              <a:t> /</a:t>
            </a:r>
            <a:r>
              <a:rPr lang="es-PE" sz="1400" dirty="0" err="1"/>
              <a:t>prod</a:t>
            </a:r>
            <a:r>
              <a:rPr lang="es-PE" sz="1400" dirty="0"/>
              <a:t>/</a:t>
            </a:r>
            <a:r>
              <a:rPr lang="es-PE" sz="1400" dirty="0" err="1"/>
              <a:t>bcp</a:t>
            </a:r>
            <a:r>
              <a:rPr lang="es-PE" sz="1400" dirty="0"/>
              <a:t>/</a:t>
            </a:r>
            <a:r>
              <a:rPr lang="es-PE" sz="1400" dirty="0" err="1"/>
              <a:t>ctrl</a:t>
            </a:r>
            <a:r>
              <a:rPr lang="es-PE" sz="1400" dirty="0"/>
              <a:t>/</a:t>
            </a:r>
            <a:r>
              <a:rPr lang="es-PE" sz="1400" dirty="0" err="1"/>
              <a:t>ksh</a:t>
            </a:r>
            <a:r>
              <a:rPr lang="es-PE" sz="1400" dirty="0"/>
              <a:t>/</a:t>
            </a:r>
            <a:r>
              <a:rPr lang="es-PE" sz="1400" b="1" dirty="0" err="1"/>
              <a:t>PRC_EjecutaJobs_DSTG.ksh</a:t>
            </a:r>
            <a:r>
              <a:rPr lang="es-PE" sz="1400" b="1" dirty="0"/>
              <a:t> </a:t>
            </a:r>
            <a:r>
              <a:rPr lang="es-PE" sz="1400" dirty="0"/>
              <a:t>&lt;PROCESO&gt; &lt;MODULO&gt; /</a:t>
            </a:r>
            <a:r>
              <a:rPr lang="es-PE" sz="1400" dirty="0" err="1"/>
              <a:t>prod</a:t>
            </a:r>
            <a:r>
              <a:rPr lang="es-PE" sz="1400" dirty="0"/>
              <a:t>/</a:t>
            </a:r>
            <a:r>
              <a:rPr lang="es-PE" sz="1400" dirty="0" err="1"/>
              <a:t>bcp</a:t>
            </a:r>
            <a:r>
              <a:rPr lang="es-PE" sz="1400" dirty="0"/>
              <a:t>/</a:t>
            </a:r>
            <a:r>
              <a:rPr lang="es-PE" sz="1400" dirty="0" err="1"/>
              <a:t>ctrl</a:t>
            </a:r>
            <a:r>
              <a:rPr lang="es-PE" sz="1400" dirty="0"/>
              <a:t> /@DBLK ADMIN</a:t>
            </a:r>
          </a:p>
          <a:p>
            <a:r>
              <a:rPr lang="es-PE" sz="1400" dirty="0" err="1"/>
              <a:t>sh</a:t>
            </a:r>
            <a:r>
              <a:rPr lang="es-PE" sz="1400" dirty="0"/>
              <a:t> /</a:t>
            </a:r>
            <a:r>
              <a:rPr lang="es-PE" sz="1400" dirty="0" err="1"/>
              <a:t>prod</a:t>
            </a:r>
            <a:r>
              <a:rPr lang="es-PE" sz="1400" dirty="0"/>
              <a:t>/</a:t>
            </a:r>
            <a:r>
              <a:rPr lang="es-PE" sz="1400" dirty="0" err="1"/>
              <a:t>bcp</a:t>
            </a:r>
            <a:r>
              <a:rPr lang="es-PE" sz="1400" dirty="0"/>
              <a:t>/</a:t>
            </a:r>
            <a:r>
              <a:rPr lang="es-PE" sz="1400" dirty="0" err="1"/>
              <a:t>ctrl</a:t>
            </a:r>
            <a:r>
              <a:rPr lang="es-PE" sz="1400" dirty="0"/>
              <a:t>/</a:t>
            </a:r>
            <a:r>
              <a:rPr lang="es-PE" sz="1400" dirty="0" err="1"/>
              <a:t>ksh</a:t>
            </a:r>
            <a:r>
              <a:rPr lang="es-PE" sz="1400" dirty="0"/>
              <a:t>/</a:t>
            </a:r>
            <a:r>
              <a:rPr lang="es-PE" sz="1400" dirty="0" err="1"/>
              <a:t>spark</a:t>
            </a:r>
            <a:r>
              <a:rPr lang="es-PE" sz="1400" dirty="0"/>
              <a:t>/</a:t>
            </a:r>
            <a:r>
              <a:rPr lang="es-PE" sz="1400" b="1" dirty="0" err="1"/>
              <a:t>PRC_EjecutaJobs_SPARK.ksh</a:t>
            </a:r>
            <a:r>
              <a:rPr lang="es-PE" sz="1400" b="1" dirty="0"/>
              <a:t> &lt;</a:t>
            </a:r>
            <a:r>
              <a:rPr lang="es-PE" sz="1400" dirty="0"/>
              <a:t>PROCESO&gt; &lt;MODULO&gt; /</a:t>
            </a:r>
            <a:r>
              <a:rPr lang="es-PE" sz="1400" dirty="0" err="1"/>
              <a:t>prod</a:t>
            </a:r>
            <a:r>
              <a:rPr lang="es-PE" sz="1400" dirty="0"/>
              <a:t>/</a:t>
            </a:r>
            <a:r>
              <a:rPr lang="es-PE" sz="1400" dirty="0" err="1"/>
              <a:t>bcp</a:t>
            </a:r>
            <a:r>
              <a:rPr lang="es-PE" sz="1400" dirty="0"/>
              <a:t>/</a:t>
            </a:r>
            <a:r>
              <a:rPr lang="es-PE" sz="1400" dirty="0" err="1"/>
              <a:t>ctrl</a:t>
            </a:r>
            <a:r>
              <a:rPr lang="es-PE" sz="1400" dirty="0"/>
              <a:t> /@DBLK ADMIN </a:t>
            </a:r>
            <a:r>
              <a:rPr lang="es-PE" sz="1400" dirty="0" err="1"/>
              <a:t>prod</a:t>
            </a:r>
            <a:endParaRPr lang="es-PE" sz="1400" dirty="0"/>
          </a:p>
          <a:p>
            <a:r>
              <a:rPr lang="es-PE" sz="1400" dirty="0" err="1"/>
              <a:t>sh</a:t>
            </a:r>
            <a:r>
              <a:rPr lang="es-PE" sz="1400" dirty="0"/>
              <a:t> /</a:t>
            </a:r>
            <a:r>
              <a:rPr lang="es-PE" sz="1400" dirty="0" err="1"/>
              <a:t>prod</a:t>
            </a:r>
            <a:r>
              <a:rPr lang="es-PE" sz="1400" dirty="0"/>
              <a:t>/</a:t>
            </a:r>
            <a:r>
              <a:rPr lang="es-PE" sz="1400" dirty="0" err="1"/>
              <a:t>bcp</a:t>
            </a:r>
            <a:r>
              <a:rPr lang="es-PE" sz="1400" dirty="0"/>
              <a:t>/</a:t>
            </a:r>
            <a:r>
              <a:rPr lang="es-PE" sz="1400" dirty="0" err="1"/>
              <a:t>ctrl</a:t>
            </a:r>
            <a:r>
              <a:rPr lang="es-PE" sz="1400" dirty="0"/>
              <a:t>/</a:t>
            </a:r>
            <a:r>
              <a:rPr lang="es-PE" sz="1400" dirty="0" err="1"/>
              <a:t>ksh</a:t>
            </a:r>
            <a:r>
              <a:rPr lang="es-PE" sz="1400" dirty="0"/>
              <a:t>/</a:t>
            </a:r>
            <a:r>
              <a:rPr lang="es-PE" sz="1400" dirty="0" err="1"/>
              <a:t>hive</a:t>
            </a:r>
            <a:r>
              <a:rPr lang="es-PE" sz="1400" dirty="0"/>
              <a:t>/</a:t>
            </a:r>
            <a:r>
              <a:rPr lang="es-PE" sz="1400" b="1" dirty="0" err="1"/>
              <a:t>PRC_EjecutaJobs_HIVE.ksh</a:t>
            </a:r>
            <a:r>
              <a:rPr lang="es-PE" sz="1400" b="1" dirty="0"/>
              <a:t> &lt;</a:t>
            </a:r>
            <a:r>
              <a:rPr lang="es-PE" sz="1400" dirty="0"/>
              <a:t>PROCESO&gt;&lt; MODULO&gt; /</a:t>
            </a:r>
            <a:r>
              <a:rPr lang="es-PE" sz="1400" dirty="0" err="1"/>
              <a:t>prod</a:t>
            </a:r>
            <a:r>
              <a:rPr lang="es-PE" sz="1400" dirty="0"/>
              <a:t>/</a:t>
            </a:r>
            <a:r>
              <a:rPr lang="es-PE" sz="1400" dirty="0" err="1"/>
              <a:t>bcp</a:t>
            </a:r>
            <a:r>
              <a:rPr lang="es-PE" sz="1400" dirty="0"/>
              <a:t>/</a:t>
            </a:r>
            <a:r>
              <a:rPr lang="es-PE" sz="1400" dirty="0" err="1"/>
              <a:t>ctrl</a:t>
            </a:r>
            <a:r>
              <a:rPr lang="es-PE" sz="1400" dirty="0"/>
              <a:t> /@DBLK ADMIN </a:t>
            </a:r>
            <a:r>
              <a:rPr lang="es-PE" sz="1400" dirty="0" err="1"/>
              <a:t>prod</a:t>
            </a:r>
            <a:endParaRPr lang="es-PE" sz="1400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42C6CF5F-B509-5ED7-A717-228C3A15DEE8}"/>
              </a:ext>
            </a:extLst>
          </p:cNvPr>
          <p:cNvSpPr txBox="1"/>
          <p:nvPr/>
        </p:nvSpPr>
        <p:spPr>
          <a:xfrm>
            <a:off x="1167881" y="1469347"/>
            <a:ext cx="913648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PE" sz="1400" dirty="0">
                <a:solidFill>
                  <a:schemeClr val="tx1"/>
                </a:solidFill>
              </a:rPr>
              <a:t>Realizar seguimientos con las siguientes consideraciones: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9BD3B36-3450-BC97-395F-3F0AF6BE8D67}"/>
              </a:ext>
            </a:extLst>
          </p:cNvPr>
          <p:cNvSpPr txBox="1"/>
          <p:nvPr/>
        </p:nvSpPr>
        <p:spPr>
          <a:xfrm>
            <a:off x="1097358" y="4080188"/>
            <a:ext cx="1006205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PE" sz="1400" dirty="0"/>
              <a:t>Ejecute los siguientes comandos según sea necesario para ejecutar procesos en </a:t>
            </a:r>
            <a:r>
              <a:rPr lang="es-PE" sz="1400" dirty="0" err="1"/>
              <a:t>Onpremise</a:t>
            </a:r>
            <a:r>
              <a:rPr lang="es-PE" sz="1400" dirty="0"/>
              <a:t> , para los casos de los procesos que fueron configurados para desactivar la convivencia. </a:t>
            </a:r>
            <a:endParaRPr lang="es-P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6204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85445D-2DCA-9FEC-E9F3-7EA8BEBEB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PRUEBAS EN DESARROLLO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6A3B328-B828-75C1-172A-185E42B88A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3254176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167943F1-5860-B3B8-84A6-29B5C20572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167943F1-5860-B3B8-84A6-29B5C20572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ángulo 10">
            <a:extLst>
              <a:ext uri="{FF2B5EF4-FFF2-40B4-BE49-F238E27FC236}">
                <a16:creationId xmlns:a16="http://schemas.microsoft.com/office/drawing/2014/main" id="{54ADD6AB-50C5-A915-A12E-4C915D75FE4D}"/>
              </a:ext>
            </a:extLst>
          </p:cNvPr>
          <p:cNvSpPr/>
          <p:nvPr/>
        </p:nvSpPr>
        <p:spPr>
          <a:xfrm>
            <a:off x="704561" y="2020466"/>
            <a:ext cx="988608" cy="2931622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lla</a:t>
            </a:r>
            <a:endParaRPr kumimoji="0" lang="es-PE" sz="1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Google Shape;1238;p46">
            <a:extLst>
              <a:ext uri="{FF2B5EF4-FFF2-40B4-BE49-F238E27FC236}">
                <a16:creationId xmlns:a16="http://schemas.microsoft.com/office/drawing/2014/main" id="{0E05D0B1-F8CB-DD8F-34B7-84B9FC09437E}"/>
              </a:ext>
            </a:extLst>
          </p:cNvPr>
          <p:cNvSpPr/>
          <p:nvPr/>
        </p:nvSpPr>
        <p:spPr>
          <a:xfrm>
            <a:off x="1703250" y="2531501"/>
            <a:ext cx="1640025" cy="374812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900" b="1" i="0" u="none" strike="noStrike" kern="0" cap="none" spc="0" normalizeH="0" baseline="0" noProof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Modificación</a:t>
            </a:r>
            <a:r>
              <a:rPr kumimoji="0" lang="en" sz="9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Shell </a:t>
            </a:r>
            <a:r>
              <a:rPr kumimoji="0" lang="en" sz="900" b="1" i="0" u="none" strike="noStrike" kern="0" cap="none" spc="0" normalizeH="0" baseline="0" noProof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Genérica</a:t>
            </a:r>
          </a:p>
        </p:txBody>
      </p:sp>
      <p:graphicFrame>
        <p:nvGraphicFramePr>
          <p:cNvPr id="14" name="Tabla 13">
            <a:extLst>
              <a:ext uri="{FF2B5EF4-FFF2-40B4-BE49-F238E27FC236}">
                <a16:creationId xmlns:a16="http://schemas.microsoft.com/office/drawing/2014/main" id="{E0356CBF-1A80-02B0-87A5-68D57A4DD6B0}"/>
              </a:ext>
            </a:extLst>
          </p:cNvPr>
          <p:cNvGraphicFramePr>
            <a:graphicFrameLocks noGrp="1"/>
          </p:cNvGraphicFramePr>
          <p:nvPr/>
        </p:nvGraphicFramePr>
        <p:xfrm>
          <a:off x="699369" y="1483290"/>
          <a:ext cx="10894726" cy="48765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977031">
                  <a:extLst>
                    <a:ext uri="{9D8B030D-6E8A-4147-A177-3AD203B41FA5}">
                      <a16:colId xmlns:a16="http://schemas.microsoft.com/office/drawing/2014/main" val="1795179827"/>
                    </a:ext>
                  </a:extLst>
                </a:gridCol>
                <a:gridCol w="952913">
                  <a:extLst>
                    <a:ext uri="{9D8B030D-6E8A-4147-A177-3AD203B41FA5}">
                      <a16:colId xmlns:a16="http://schemas.microsoft.com/office/drawing/2014/main" val="2371316460"/>
                    </a:ext>
                  </a:extLst>
                </a:gridCol>
                <a:gridCol w="695082">
                  <a:extLst>
                    <a:ext uri="{9D8B030D-6E8A-4147-A177-3AD203B41FA5}">
                      <a16:colId xmlns:a16="http://schemas.microsoft.com/office/drawing/2014/main" val="1282665589"/>
                    </a:ext>
                  </a:extLst>
                </a:gridCol>
                <a:gridCol w="638005">
                  <a:extLst>
                    <a:ext uri="{9D8B030D-6E8A-4147-A177-3AD203B41FA5}">
                      <a16:colId xmlns:a16="http://schemas.microsoft.com/office/drawing/2014/main" val="1106707368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3917805780"/>
                    </a:ext>
                  </a:extLst>
                </a:gridCol>
                <a:gridCol w="638175">
                  <a:extLst>
                    <a:ext uri="{9D8B030D-6E8A-4147-A177-3AD203B41FA5}">
                      <a16:colId xmlns:a16="http://schemas.microsoft.com/office/drawing/2014/main" val="740894990"/>
                    </a:ext>
                  </a:extLst>
                </a:gridCol>
                <a:gridCol w="676275">
                  <a:extLst>
                    <a:ext uri="{9D8B030D-6E8A-4147-A177-3AD203B41FA5}">
                      <a16:colId xmlns:a16="http://schemas.microsoft.com/office/drawing/2014/main" val="3031279403"/>
                    </a:ext>
                  </a:extLst>
                </a:gridCol>
                <a:gridCol w="638175">
                  <a:extLst>
                    <a:ext uri="{9D8B030D-6E8A-4147-A177-3AD203B41FA5}">
                      <a16:colId xmlns:a16="http://schemas.microsoft.com/office/drawing/2014/main" val="3377104700"/>
                    </a:ext>
                  </a:extLst>
                </a:gridCol>
                <a:gridCol w="752475">
                  <a:extLst>
                    <a:ext uri="{9D8B030D-6E8A-4147-A177-3AD203B41FA5}">
                      <a16:colId xmlns:a16="http://schemas.microsoft.com/office/drawing/2014/main" val="2072324451"/>
                    </a:ext>
                  </a:extLst>
                </a:gridCol>
                <a:gridCol w="962025">
                  <a:extLst>
                    <a:ext uri="{9D8B030D-6E8A-4147-A177-3AD203B41FA5}">
                      <a16:colId xmlns:a16="http://schemas.microsoft.com/office/drawing/2014/main" val="2636806636"/>
                    </a:ext>
                  </a:extLst>
                </a:gridCol>
                <a:gridCol w="844550">
                  <a:extLst>
                    <a:ext uri="{9D8B030D-6E8A-4147-A177-3AD203B41FA5}">
                      <a16:colId xmlns:a16="http://schemas.microsoft.com/office/drawing/2014/main" val="309650943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14238820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932316380"/>
                    </a:ext>
                  </a:extLst>
                </a:gridCol>
                <a:gridCol w="760995">
                  <a:extLst>
                    <a:ext uri="{9D8B030D-6E8A-4147-A177-3AD203B41FA5}">
                      <a16:colId xmlns:a16="http://schemas.microsoft.com/office/drawing/2014/main" val="2214899017"/>
                    </a:ext>
                  </a:extLst>
                </a:gridCol>
              </a:tblGrid>
              <a:tr h="4716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b="1">
                          <a:solidFill>
                            <a:schemeClr val="lt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2024</a:t>
                      </a:r>
                      <a:endParaRPr sz="1000" b="1">
                        <a:solidFill>
                          <a:schemeClr val="lt1"/>
                        </a:solidFill>
                        <a:latin typeface="Fira Sans Extra Condensed"/>
                        <a:ea typeface="Fira Sans Extra Condensed"/>
                        <a:cs typeface="Fira Sans Extra Condensed"/>
                        <a:sym typeface="Fira Sans Extra Condensed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666666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434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PE" sz="1000" b="1">
                          <a:solidFill>
                            <a:schemeClr val="lt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Mar</a:t>
                      </a:r>
                      <a:endParaRPr sz="1000" b="1">
                        <a:solidFill>
                          <a:schemeClr val="lt1"/>
                        </a:solidFill>
                        <a:latin typeface="Fira Sans Extra Condensed"/>
                        <a:ea typeface="Fira Sans Extra Condensed"/>
                        <a:cs typeface="Fira Sans Extra Condensed"/>
                        <a:sym typeface="Fira Sans Extra Condensed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666666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8888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b="1">
                          <a:solidFill>
                            <a:schemeClr val="lt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Abr 1° Quincena</a:t>
                      </a:r>
                      <a:endParaRPr sz="1000" b="1">
                        <a:solidFill>
                          <a:schemeClr val="lt1"/>
                        </a:solidFill>
                        <a:latin typeface="Fira Sans Extra Condensed"/>
                        <a:ea typeface="Fira Sans Extra Condensed"/>
                        <a:cs typeface="Fira Sans Extra Condensed"/>
                        <a:sym typeface="Fira Sans Extra Condensed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8888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PE" sz="1000" b="1">
                          <a:solidFill>
                            <a:schemeClr val="lt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Abr 2° Quincena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8888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PE" sz="1000" b="1">
                          <a:solidFill>
                            <a:schemeClr val="lt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May 1° Quincena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8888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PE" sz="1000" b="1">
                          <a:solidFill>
                            <a:schemeClr val="lt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May 2° Quincena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8888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b="1">
                          <a:solidFill>
                            <a:schemeClr val="lt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Jun 1°</a:t>
                      </a: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b="1">
                          <a:solidFill>
                            <a:schemeClr val="lt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Quicena</a:t>
                      </a:r>
                      <a:endParaRPr sz="1000" b="1">
                        <a:solidFill>
                          <a:schemeClr val="lt1"/>
                        </a:solidFill>
                        <a:latin typeface="Fira Sans Extra Condensed"/>
                        <a:ea typeface="Fira Sans Extra Condensed"/>
                        <a:cs typeface="Fira Sans Extra Condensed"/>
                        <a:sym typeface="Fira Sans Extra Condensed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8888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PE" sz="1000" b="1">
                          <a:solidFill>
                            <a:schemeClr val="lt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Jun 2°</a:t>
                      </a: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PE" sz="1000" b="1">
                          <a:solidFill>
                            <a:schemeClr val="lt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Quincena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8888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PE" sz="1000" b="1">
                          <a:solidFill>
                            <a:schemeClr val="lt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Jul 1°</a:t>
                      </a: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PE" sz="1000" b="1">
                          <a:solidFill>
                            <a:schemeClr val="lt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Quincena</a:t>
                      </a: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8888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PE" sz="1000" b="1">
                          <a:solidFill>
                            <a:schemeClr val="lt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Jul 2°</a:t>
                      </a: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PE" sz="1000" b="1">
                          <a:solidFill>
                            <a:schemeClr val="lt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Quincena</a:t>
                      </a: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8888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b="1">
                          <a:solidFill>
                            <a:schemeClr val="lt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Ago</a:t>
                      </a:r>
                      <a:endParaRPr sz="1000" b="1">
                        <a:solidFill>
                          <a:schemeClr val="lt1"/>
                        </a:solidFill>
                        <a:latin typeface="Fira Sans Extra Condensed"/>
                        <a:ea typeface="Fira Sans Extra Condensed"/>
                        <a:cs typeface="Fira Sans Extra Condensed"/>
                        <a:sym typeface="Fira Sans Extra Condensed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8888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b="1">
                          <a:solidFill>
                            <a:schemeClr val="lt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Sep</a:t>
                      </a:r>
                      <a:endParaRPr sz="1000" b="1">
                        <a:solidFill>
                          <a:schemeClr val="lt1"/>
                        </a:solidFill>
                        <a:latin typeface="Fira Sans Extra Condensed"/>
                        <a:ea typeface="Fira Sans Extra Condensed"/>
                        <a:cs typeface="Fira Sans Extra Condensed"/>
                        <a:sym typeface="Fira Sans Extra Condensed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8888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" sz="1000" b="1" i="0" u="none" strike="noStrike" cap="none">
                          <a:solidFill>
                            <a:schemeClr val="bg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Oct</a:t>
                      </a:r>
                      <a:endParaRPr sz="1000" b="1" i="0" u="none" strike="noStrike" cap="none">
                        <a:solidFill>
                          <a:schemeClr val="bg1"/>
                        </a:solidFill>
                        <a:latin typeface="Fira Sans Extra Condensed"/>
                        <a:ea typeface="Fira Sans Extra Condensed"/>
                        <a:cs typeface="Fira Sans Extra Condensed"/>
                        <a:sym typeface="Fira Sans Extra Condensed"/>
                      </a:endParaRPr>
                    </a:p>
                  </a:txBody>
                  <a:tcPr marL="91425" marR="91425" marT="91425" marB="91425" anchor="ctr">
                    <a:lnL w="9525" cap="flat" cmpd="sng">
                      <a:solidFill>
                        <a:srgbClr val="FFFFFF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8888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s-MX" sz="1000" b="1" i="0" u="none" strike="noStrike" kern="1200" cap="none">
                          <a:solidFill>
                            <a:schemeClr val="bg1"/>
                          </a:solidFill>
                          <a:latin typeface="Fira Sans Extra Condensed"/>
                          <a:ea typeface="Fira Sans Extra Condensed"/>
                          <a:cs typeface="Fira Sans Extra Condensed"/>
                          <a:sym typeface="Fira Sans Extra Condensed"/>
                        </a:rPr>
                        <a:t>Nov</a:t>
                      </a:r>
                      <a:endParaRPr sz="1000" b="1" i="0" u="none" strike="noStrike" kern="1200" cap="none">
                        <a:solidFill>
                          <a:schemeClr val="bg1"/>
                        </a:solidFill>
                        <a:latin typeface="Fira Sans Extra Condensed"/>
                        <a:ea typeface="Fira Sans Extra Condensed"/>
                        <a:cs typeface="Fira Sans Extra Condensed"/>
                        <a:sym typeface="Fira Sans Extra Condensed"/>
                      </a:endParaRPr>
                    </a:p>
                  </a:txBody>
                  <a:tcPr marL="91425" marR="91425" marT="91425" marB="91425" anchor="ctr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888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66838"/>
                  </a:ext>
                </a:extLst>
              </a:tr>
            </a:tbl>
          </a:graphicData>
        </a:graphic>
      </p:graphicFrame>
      <p:sp>
        <p:nvSpPr>
          <p:cNvPr id="16" name="Google Shape;1238;p46">
            <a:extLst>
              <a:ext uri="{FF2B5EF4-FFF2-40B4-BE49-F238E27FC236}">
                <a16:creationId xmlns:a16="http://schemas.microsoft.com/office/drawing/2014/main" id="{511B2441-3937-CF94-11A7-1E8E6C6E738C}"/>
              </a:ext>
            </a:extLst>
          </p:cNvPr>
          <p:cNvSpPr/>
          <p:nvPr/>
        </p:nvSpPr>
        <p:spPr>
          <a:xfrm>
            <a:off x="6608792" y="4500577"/>
            <a:ext cx="4985302" cy="37622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5">
                  <a:lumMod val="40000"/>
                  <a:lumOff val="60000"/>
                </a:schemeClr>
              </a:gs>
              <a:gs pos="73000">
                <a:schemeClr val="accent5">
                  <a:lumMod val="40000"/>
                  <a:lumOff val="60000"/>
                </a:schemeClr>
              </a:gs>
              <a:gs pos="87000">
                <a:schemeClr val="accent5">
                  <a:lumMod val="40000"/>
                  <a:lumOff val="60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Rutina </a:t>
            </a:r>
            <a:r>
              <a:rPr kumimoji="0" lang="en" sz="1000" b="1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Sólo</a:t>
            </a:r>
            <a:r>
              <a:rPr kumimoji="0" lang="en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 Cloud</a:t>
            </a:r>
            <a:endParaRPr kumimoji="0" lang="es-ES" sz="10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cxnSp>
        <p:nvCxnSpPr>
          <p:cNvPr id="77" name="Conector recto 76">
            <a:extLst>
              <a:ext uri="{FF2B5EF4-FFF2-40B4-BE49-F238E27FC236}">
                <a16:creationId xmlns:a16="http://schemas.microsoft.com/office/drawing/2014/main" id="{9F044328-F94E-4B0C-9711-9943EBCDD287}"/>
              </a:ext>
            </a:extLst>
          </p:cNvPr>
          <p:cNvCxnSpPr>
            <a:cxnSpLocks/>
          </p:cNvCxnSpPr>
          <p:nvPr/>
        </p:nvCxnSpPr>
        <p:spPr>
          <a:xfrm flipV="1">
            <a:off x="1684709" y="4955125"/>
            <a:ext cx="9900000" cy="13785"/>
          </a:xfrm>
          <a:prstGeom prst="line">
            <a:avLst/>
          </a:prstGeom>
          <a:ln w="952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Google Shape;1238;p46">
            <a:extLst>
              <a:ext uri="{FF2B5EF4-FFF2-40B4-BE49-F238E27FC236}">
                <a16:creationId xmlns:a16="http://schemas.microsoft.com/office/drawing/2014/main" id="{A408A28A-3B39-922F-49D4-EB4F9D5821BD}"/>
              </a:ext>
            </a:extLst>
          </p:cNvPr>
          <p:cNvSpPr/>
          <p:nvPr/>
        </p:nvSpPr>
        <p:spPr>
          <a:xfrm>
            <a:off x="3343276" y="3019724"/>
            <a:ext cx="612000" cy="271839"/>
          </a:xfrm>
          <a:prstGeom prst="flowChartAlternateProcess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9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9" name="Google Shape;1238;p46">
            <a:extLst>
              <a:ext uri="{FF2B5EF4-FFF2-40B4-BE49-F238E27FC236}">
                <a16:creationId xmlns:a16="http://schemas.microsoft.com/office/drawing/2014/main" id="{F2E2552D-2328-81B1-2386-3F725DE46843}"/>
              </a:ext>
            </a:extLst>
          </p:cNvPr>
          <p:cNvSpPr/>
          <p:nvPr/>
        </p:nvSpPr>
        <p:spPr>
          <a:xfrm>
            <a:off x="3989637" y="3626922"/>
            <a:ext cx="618098" cy="247616"/>
          </a:xfrm>
          <a:prstGeom prst="flowChartAlternateProcess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" sz="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sp>
        <p:nvSpPr>
          <p:cNvPr id="80" name="Google Shape;1238;p46">
            <a:extLst>
              <a:ext uri="{FF2B5EF4-FFF2-40B4-BE49-F238E27FC236}">
                <a16:creationId xmlns:a16="http://schemas.microsoft.com/office/drawing/2014/main" id="{84BC52A5-7382-A136-58A3-C741D53E642C}"/>
              </a:ext>
            </a:extLst>
          </p:cNvPr>
          <p:cNvSpPr/>
          <p:nvPr/>
        </p:nvSpPr>
        <p:spPr>
          <a:xfrm>
            <a:off x="4648395" y="4035951"/>
            <a:ext cx="618098" cy="206422"/>
          </a:xfrm>
          <a:prstGeom prst="flowChartAlternateProcess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" sz="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sp>
        <p:nvSpPr>
          <p:cNvPr id="86" name="Título 1">
            <a:extLst>
              <a:ext uri="{FF2B5EF4-FFF2-40B4-BE49-F238E27FC236}">
                <a16:creationId xmlns:a16="http://schemas.microsoft.com/office/drawing/2014/main" id="{C60A8D8F-3372-0196-8329-94468629B8FB}"/>
              </a:ext>
            </a:extLst>
          </p:cNvPr>
          <p:cNvSpPr txBox="1">
            <a:spLocks/>
          </p:cNvSpPr>
          <p:nvPr/>
        </p:nvSpPr>
        <p:spPr>
          <a:xfrm>
            <a:off x="838200" y="235197"/>
            <a:ext cx="10515600" cy="4093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149" b="1" i="1" kern="1200">
                <a:solidFill>
                  <a:srgbClr val="002D74"/>
                </a:solidFill>
                <a:latin typeface="Flexo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3200" b="1" i="1" u="none" strike="noStrike" kern="1200" cap="none" spc="0" normalizeH="0" baseline="0" noProof="0">
                <a:ln>
                  <a:noFill/>
                </a:ln>
                <a:solidFill>
                  <a:srgbClr val="002D74"/>
                </a:solidFill>
                <a:effectLst/>
                <a:uLnTx/>
                <a:uFillTx/>
                <a:latin typeface="Flexo" pitchFamily="50" charset="0"/>
                <a:ea typeface="+mj-ea"/>
                <a:cs typeface="+mj-cs"/>
              </a:rPr>
              <a:t>Plan de desacople rutina </a:t>
            </a:r>
            <a:r>
              <a:rPr kumimoji="0" lang="es-PE" sz="3200" b="1" i="1" u="none" strike="noStrike" kern="1200" cap="none" spc="0" normalizeH="0" baseline="0" noProof="0" err="1">
                <a:ln>
                  <a:noFill/>
                </a:ln>
                <a:solidFill>
                  <a:srgbClr val="002D74"/>
                </a:solidFill>
                <a:effectLst/>
                <a:uLnTx/>
                <a:uFillTx/>
                <a:latin typeface="Flexo" pitchFamily="50" charset="0"/>
                <a:ea typeface="+mj-ea"/>
                <a:cs typeface="+mj-cs"/>
              </a:rPr>
              <a:t>Onpremise</a:t>
            </a:r>
            <a:endParaRPr kumimoji="0" lang="es-PE" sz="3200" b="1" i="1" u="none" strike="noStrike" kern="1200" cap="none" spc="0" normalizeH="0" baseline="0" noProof="0">
              <a:ln>
                <a:noFill/>
              </a:ln>
              <a:solidFill>
                <a:srgbClr val="002D74"/>
              </a:solidFill>
              <a:effectLst/>
              <a:uLnTx/>
              <a:uFillTx/>
              <a:latin typeface="Flexo" pitchFamily="50" charset="0"/>
              <a:ea typeface="+mj-ea"/>
              <a:cs typeface="+mj-cs"/>
            </a:endParaRPr>
          </a:p>
        </p:txBody>
      </p:sp>
      <p:sp>
        <p:nvSpPr>
          <p:cNvPr id="88" name="Flecha: a la derecha con muesca 87">
            <a:extLst>
              <a:ext uri="{FF2B5EF4-FFF2-40B4-BE49-F238E27FC236}">
                <a16:creationId xmlns:a16="http://schemas.microsoft.com/office/drawing/2014/main" id="{4D669E1A-9B30-21FE-676B-39FA11905818}"/>
              </a:ext>
            </a:extLst>
          </p:cNvPr>
          <p:cNvSpPr/>
          <p:nvPr/>
        </p:nvSpPr>
        <p:spPr>
          <a:xfrm>
            <a:off x="3598303" y="5089879"/>
            <a:ext cx="7991048" cy="677104"/>
          </a:xfrm>
          <a:prstGeom prst="notched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2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 LIVE</a:t>
            </a:r>
          </a:p>
        </p:txBody>
      </p:sp>
      <p:sp>
        <p:nvSpPr>
          <p:cNvPr id="89" name="Google Shape;1238;p46">
            <a:extLst>
              <a:ext uri="{FF2B5EF4-FFF2-40B4-BE49-F238E27FC236}">
                <a16:creationId xmlns:a16="http://schemas.microsoft.com/office/drawing/2014/main" id="{505963B5-CED1-370F-E9B9-780AD76E97E3}"/>
              </a:ext>
            </a:extLst>
          </p:cNvPr>
          <p:cNvSpPr/>
          <p:nvPr/>
        </p:nvSpPr>
        <p:spPr>
          <a:xfrm>
            <a:off x="5274798" y="4497440"/>
            <a:ext cx="1333994" cy="397099"/>
          </a:xfrm>
          <a:prstGeom prst="flowChartAlternateProcess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800" b="1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Desactivación</a:t>
            </a:r>
            <a:r>
              <a:rPr kumimoji="0" lang="en" sz="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 Rutina On Prem</a:t>
            </a:r>
            <a:endParaRPr kumimoji="0" lang="en" sz="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F7C38C68-7D67-2064-B1BF-D799CCB15DC2}"/>
              </a:ext>
            </a:extLst>
          </p:cNvPr>
          <p:cNvCxnSpPr>
            <a:cxnSpLocks/>
          </p:cNvCxnSpPr>
          <p:nvPr/>
        </p:nvCxnSpPr>
        <p:spPr bwMode="gray">
          <a:xfrm>
            <a:off x="3326125" y="1947301"/>
            <a:ext cx="0" cy="277200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lgDash"/>
            <a:miter lim="800000"/>
            <a:tailEnd type="none" w="med" len="lg"/>
          </a:ln>
          <a:effectLst/>
        </p:spPr>
      </p:cxnSp>
      <p:cxnSp>
        <p:nvCxnSpPr>
          <p:cNvPr id="91" name="Conector recto 90">
            <a:extLst>
              <a:ext uri="{FF2B5EF4-FFF2-40B4-BE49-F238E27FC236}">
                <a16:creationId xmlns:a16="http://schemas.microsoft.com/office/drawing/2014/main" id="{8F54B8A9-6364-A30C-EB69-3E389094C8B5}"/>
              </a:ext>
            </a:extLst>
          </p:cNvPr>
          <p:cNvCxnSpPr>
            <a:cxnSpLocks/>
          </p:cNvCxnSpPr>
          <p:nvPr/>
        </p:nvCxnSpPr>
        <p:spPr bwMode="gray">
          <a:xfrm>
            <a:off x="6594817" y="1970940"/>
            <a:ext cx="0" cy="367200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lgDash"/>
            <a:miter lim="800000"/>
            <a:tailEnd type="none" w="med" len="lg"/>
          </a:ln>
          <a:effectLst/>
        </p:spPr>
      </p:cxnSp>
      <p:cxnSp>
        <p:nvCxnSpPr>
          <p:cNvPr id="95" name="Conector recto 94">
            <a:extLst>
              <a:ext uri="{FF2B5EF4-FFF2-40B4-BE49-F238E27FC236}">
                <a16:creationId xmlns:a16="http://schemas.microsoft.com/office/drawing/2014/main" id="{14F720B6-39ED-6F62-05A2-E46E094033AD}"/>
              </a:ext>
            </a:extLst>
          </p:cNvPr>
          <p:cNvCxnSpPr>
            <a:cxnSpLocks/>
          </p:cNvCxnSpPr>
          <p:nvPr/>
        </p:nvCxnSpPr>
        <p:spPr bwMode="gray">
          <a:xfrm>
            <a:off x="3961125" y="1970940"/>
            <a:ext cx="0" cy="367200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lgDash"/>
            <a:miter lim="800000"/>
            <a:tailEnd type="none" w="med" len="lg"/>
          </a:ln>
          <a:effectLst/>
        </p:spPr>
      </p:cxn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A4C82D5-DF72-4869-BED8-F259D57B9AC2}"/>
              </a:ext>
            </a:extLst>
          </p:cNvPr>
          <p:cNvCxnSpPr>
            <a:cxnSpLocks/>
          </p:cNvCxnSpPr>
          <p:nvPr/>
        </p:nvCxnSpPr>
        <p:spPr bwMode="gray">
          <a:xfrm>
            <a:off x="5256525" y="1958240"/>
            <a:ext cx="0" cy="367200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lgDash"/>
            <a:miter lim="800000"/>
            <a:tailEnd type="none" w="med" len="lg"/>
          </a:ln>
          <a:effectLst/>
        </p:spPr>
      </p:cxnSp>
      <p:sp>
        <p:nvSpPr>
          <p:cNvPr id="97" name="CuadroTexto 96">
            <a:extLst>
              <a:ext uri="{FF2B5EF4-FFF2-40B4-BE49-F238E27FC236}">
                <a16:creationId xmlns:a16="http://schemas.microsoft.com/office/drawing/2014/main" id="{132B7125-68BE-A23A-C710-BFE55CD69036}"/>
              </a:ext>
            </a:extLst>
          </p:cNvPr>
          <p:cNvSpPr txBox="1"/>
          <p:nvPr/>
        </p:nvSpPr>
        <p:spPr>
          <a:xfrm>
            <a:off x="3977882" y="5625247"/>
            <a:ext cx="10633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</a:t>
            </a:r>
            <a:r>
              <a:rPr kumimoji="0" lang="es-P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ive Progresivo</a:t>
            </a:r>
          </a:p>
        </p:txBody>
      </p:sp>
      <p:sp>
        <p:nvSpPr>
          <p:cNvPr id="98" name="CuadroTexto 97">
            <a:extLst>
              <a:ext uri="{FF2B5EF4-FFF2-40B4-BE49-F238E27FC236}">
                <a16:creationId xmlns:a16="http://schemas.microsoft.com/office/drawing/2014/main" id="{3E7C48E9-4F34-5136-A93A-7396C78819A2}"/>
              </a:ext>
            </a:extLst>
          </p:cNvPr>
          <p:cNvSpPr txBox="1"/>
          <p:nvPr/>
        </p:nvSpPr>
        <p:spPr>
          <a:xfrm>
            <a:off x="5279971" y="5631907"/>
            <a:ext cx="12711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-</a:t>
            </a:r>
            <a:r>
              <a:rPr kumimoji="0" lang="es-PE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</a:t>
            </a:r>
            <a:r>
              <a:rPr kumimoji="0" lang="es-P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ive</a:t>
            </a:r>
          </a:p>
        </p:txBody>
      </p:sp>
      <p:sp>
        <p:nvSpPr>
          <p:cNvPr id="99" name="CuadroTexto 98">
            <a:extLst>
              <a:ext uri="{FF2B5EF4-FFF2-40B4-BE49-F238E27FC236}">
                <a16:creationId xmlns:a16="http://schemas.microsoft.com/office/drawing/2014/main" id="{CAC985A7-6AE0-2749-36A0-EB8263FA7B36}"/>
              </a:ext>
            </a:extLst>
          </p:cNvPr>
          <p:cNvSpPr txBox="1"/>
          <p:nvPr/>
        </p:nvSpPr>
        <p:spPr>
          <a:xfrm>
            <a:off x="7297548" y="5605929"/>
            <a:ext cx="32307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abilización y Optimización</a:t>
            </a:r>
          </a:p>
        </p:txBody>
      </p:sp>
      <p:sp>
        <p:nvSpPr>
          <p:cNvPr id="101" name="CuadroTexto 100">
            <a:extLst>
              <a:ext uri="{FF2B5EF4-FFF2-40B4-BE49-F238E27FC236}">
                <a16:creationId xmlns:a16="http://schemas.microsoft.com/office/drawing/2014/main" id="{2A7457D8-4ABB-B26D-B3A5-B1436C447D64}"/>
              </a:ext>
            </a:extLst>
          </p:cNvPr>
          <p:cNvSpPr txBox="1"/>
          <p:nvPr/>
        </p:nvSpPr>
        <p:spPr>
          <a:xfrm>
            <a:off x="3098732" y="4690478"/>
            <a:ext cx="52483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1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/04</a:t>
            </a:r>
          </a:p>
        </p:txBody>
      </p:sp>
      <p:sp>
        <p:nvSpPr>
          <p:cNvPr id="102" name="CuadroTexto 101">
            <a:extLst>
              <a:ext uri="{FF2B5EF4-FFF2-40B4-BE49-F238E27FC236}">
                <a16:creationId xmlns:a16="http://schemas.microsoft.com/office/drawing/2014/main" id="{AE61DE4C-5B0F-7F7F-423E-C7803C03A8A1}"/>
              </a:ext>
            </a:extLst>
          </p:cNvPr>
          <p:cNvSpPr txBox="1"/>
          <p:nvPr/>
        </p:nvSpPr>
        <p:spPr>
          <a:xfrm>
            <a:off x="3623620" y="5561609"/>
            <a:ext cx="61142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1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2/05</a:t>
            </a: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id="{A432D781-1187-C533-64F6-303EC94A13FF}"/>
              </a:ext>
            </a:extLst>
          </p:cNvPr>
          <p:cNvSpPr txBox="1"/>
          <p:nvPr/>
        </p:nvSpPr>
        <p:spPr>
          <a:xfrm>
            <a:off x="5004252" y="5563698"/>
            <a:ext cx="52483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1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/06</a:t>
            </a:r>
          </a:p>
        </p:txBody>
      </p:sp>
      <p:sp>
        <p:nvSpPr>
          <p:cNvPr id="104" name="CuadroTexto 103">
            <a:extLst>
              <a:ext uri="{FF2B5EF4-FFF2-40B4-BE49-F238E27FC236}">
                <a16:creationId xmlns:a16="http://schemas.microsoft.com/office/drawing/2014/main" id="{A17D6952-01C1-9DC5-B36F-851563AD58E3}"/>
              </a:ext>
            </a:extLst>
          </p:cNvPr>
          <p:cNvSpPr txBox="1"/>
          <p:nvPr/>
        </p:nvSpPr>
        <p:spPr>
          <a:xfrm>
            <a:off x="6332400" y="5577196"/>
            <a:ext cx="52483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1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1/07</a:t>
            </a:r>
          </a:p>
        </p:txBody>
      </p:sp>
      <p:sp>
        <p:nvSpPr>
          <p:cNvPr id="105" name="CuadroTexto 104">
            <a:extLst>
              <a:ext uri="{FF2B5EF4-FFF2-40B4-BE49-F238E27FC236}">
                <a16:creationId xmlns:a16="http://schemas.microsoft.com/office/drawing/2014/main" id="{CF258153-4217-E831-F62F-CA0F76EFD48E}"/>
              </a:ext>
            </a:extLst>
          </p:cNvPr>
          <p:cNvSpPr txBox="1"/>
          <p:nvPr/>
        </p:nvSpPr>
        <p:spPr>
          <a:xfrm>
            <a:off x="2876662" y="3224686"/>
            <a:ext cx="1493805" cy="24622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loto Caso 1</a:t>
            </a: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6" name="CuadroTexto 105">
            <a:extLst>
              <a:ext uri="{FF2B5EF4-FFF2-40B4-BE49-F238E27FC236}">
                <a16:creationId xmlns:a16="http://schemas.microsoft.com/office/drawing/2014/main" id="{999679C2-157B-C7E8-E650-D54C71E09A1B}"/>
              </a:ext>
            </a:extLst>
          </p:cNvPr>
          <p:cNvSpPr txBox="1"/>
          <p:nvPr/>
        </p:nvSpPr>
        <p:spPr>
          <a:xfrm>
            <a:off x="3649276" y="3882983"/>
            <a:ext cx="1215875" cy="24622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loto Caso 2</a:t>
            </a: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7" name="CuadroTexto 106">
            <a:extLst>
              <a:ext uri="{FF2B5EF4-FFF2-40B4-BE49-F238E27FC236}">
                <a16:creationId xmlns:a16="http://schemas.microsoft.com/office/drawing/2014/main" id="{8CB92F72-980E-4FE8-236E-06E0A4694E7A}"/>
              </a:ext>
            </a:extLst>
          </p:cNvPr>
          <p:cNvSpPr txBox="1"/>
          <p:nvPr/>
        </p:nvSpPr>
        <p:spPr>
          <a:xfrm>
            <a:off x="4370467" y="4201520"/>
            <a:ext cx="1215875" cy="24622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loto Caso 3</a:t>
            </a: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78D733F2-EF8F-DB7E-E003-DD5EE2CCC39E}"/>
              </a:ext>
            </a:extLst>
          </p:cNvPr>
          <p:cNvSpPr txBox="1"/>
          <p:nvPr/>
        </p:nvSpPr>
        <p:spPr>
          <a:xfrm>
            <a:off x="8792104" y="2461781"/>
            <a:ext cx="1908846" cy="17851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ideraciones Plan de pase:</a:t>
            </a:r>
            <a:endParaRPr kumimoji="0" lang="es-ES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PE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Coordinaciones con Operaciones Dat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PE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Coordinaciones con Control de Producció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PE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Plan de reversió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PE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Monitoreo </a:t>
            </a:r>
            <a:r>
              <a:rPr kumimoji="0" lang="es-PE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pase de modificación y pilotos</a:t>
            </a: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PE" sz="1000" b="0" i="0" u="none" strike="noStrike" kern="1200" cap="none" spc="0" normalizeH="0" baseline="0" noProof="0" dirty="0">
              <a:ln>
                <a:noFill/>
              </a:ln>
              <a:solidFill>
                <a:srgbClr val="BFBFBF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000" b="0" i="0" u="none" strike="noStrike" kern="1200" cap="none" spc="0" normalizeH="0" baseline="0" noProof="0" dirty="0">
              <a:ln>
                <a:noFill/>
              </a:ln>
              <a:solidFill>
                <a:srgbClr val="BFBFBF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3" name="Rombo 2">
            <a:extLst>
              <a:ext uri="{FF2B5EF4-FFF2-40B4-BE49-F238E27FC236}">
                <a16:creationId xmlns:a16="http://schemas.microsoft.com/office/drawing/2014/main" id="{3C901CEC-5A05-257F-E587-EA48E4F52C7F}"/>
              </a:ext>
            </a:extLst>
          </p:cNvPr>
          <p:cNvSpPr/>
          <p:nvPr/>
        </p:nvSpPr>
        <p:spPr>
          <a:xfrm>
            <a:off x="5118758" y="4555506"/>
            <a:ext cx="294409" cy="294409"/>
          </a:xfrm>
          <a:prstGeom prst="diamond">
            <a:avLst/>
          </a:prstGeom>
          <a:solidFill>
            <a:srgbClr val="ED7D31"/>
          </a:solidFill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0961BF4B-298C-6047-D394-A600A3723182}"/>
              </a:ext>
            </a:extLst>
          </p:cNvPr>
          <p:cNvSpPr txBox="1"/>
          <p:nvPr/>
        </p:nvSpPr>
        <p:spPr>
          <a:xfrm>
            <a:off x="6769343" y="6492103"/>
            <a:ext cx="5282956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Confirmación para Iniciar Desactivación Rutina </a:t>
            </a:r>
            <a:r>
              <a:rPr kumimoji="0" lang="es-P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On</a:t>
            </a:r>
            <a:r>
              <a:rPr kumimoji="0" lang="es-P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 </a:t>
            </a:r>
            <a:r>
              <a:rPr kumimoji="0" lang="es-P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Prem</a:t>
            </a:r>
            <a:endParaRPr kumimoji="0" lang="es-P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6" name="Rombo 5">
            <a:extLst>
              <a:ext uri="{FF2B5EF4-FFF2-40B4-BE49-F238E27FC236}">
                <a16:creationId xmlns:a16="http://schemas.microsoft.com/office/drawing/2014/main" id="{7BE3052C-63E8-9740-A7F4-B0BBDD741B6E}"/>
              </a:ext>
            </a:extLst>
          </p:cNvPr>
          <p:cNvSpPr/>
          <p:nvPr/>
        </p:nvSpPr>
        <p:spPr>
          <a:xfrm>
            <a:off x="7006439" y="6506749"/>
            <a:ext cx="294409" cy="294409"/>
          </a:xfrm>
          <a:prstGeom prst="diamond">
            <a:avLst/>
          </a:prstGeom>
          <a:solidFill>
            <a:srgbClr val="ED7D31"/>
          </a:solidFill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960D57C4-48B3-135E-3ABE-3D6AD0846485}"/>
              </a:ext>
            </a:extLst>
          </p:cNvPr>
          <p:cNvSpPr txBox="1"/>
          <p:nvPr/>
        </p:nvSpPr>
        <p:spPr>
          <a:xfrm>
            <a:off x="95821" y="5728420"/>
            <a:ext cx="1930688" cy="70788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loto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P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o 1: RDV sin sucesor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P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o 2: Solución E2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P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o 3: Solución E2E </a:t>
            </a: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91FB90F-043E-C48B-7424-7B310CC3370B}"/>
              </a:ext>
            </a:extLst>
          </p:cNvPr>
          <p:cNvSpPr txBox="1"/>
          <p:nvPr/>
        </p:nvSpPr>
        <p:spPr>
          <a:xfrm>
            <a:off x="1615735" y="6506749"/>
            <a:ext cx="5282956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Fechas </a:t>
            </a:r>
            <a:r>
              <a:rPr kumimoji="0" lang="es-PE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Go</a:t>
            </a:r>
            <a:r>
              <a:rPr kumimoji="0" lang="es-P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 Live en proceso de confirmación BRP Q2</a:t>
            </a:r>
          </a:p>
        </p:txBody>
      </p:sp>
      <p:pic>
        <p:nvPicPr>
          <p:cNvPr id="1030" name="Picture 6" descr="Process Icon On White Background Process Stock Vector (Royalty Free)  1663147273 | Shutterstock">
            <a:extLst>
              <a:ext uri="{FF2B5EF4-FFF2-40B4-BE49-F238E27FC236}">
                <a16:creationId xmlns:a16="http://schemas.microsoft.com/office/drawing/2014/main" id="{79670AEC-0764-B963-94D8-51BCAD5CBD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91" t="8498" r="5705" b="14355"/>
          <a:stretch/>
        </p:blipFill>
        <p:spPr bwMode="auto">
          <a:xfrm>
            <a:off x="2254989" y="6439580"/>
            <a:ext cx="405834" cy="402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27541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AFD3C1F2-FC54-3587-FFBD-72AA0613A535}"/>
              </a:ext>
            </a:extLst>
          </p:cNvPr>
          <p:cNvCxnSpPr>
            <a:cxnSpLocks/>
          </p:cNvCxnSpPr>
          <p:nvPr/>
        </p:nvCxnSpPr>
        <p:spPr>
          <a:xfrm>
            <a:off x="6006384" y="0"/>
            <a:ext cx="124934" cy="67209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ángulo: esquinas redondeadas 46">
            <a:extLst>
              <a:ext uri="{FF2B5EF4-FFF2-40B4-BE49-F238E27FC236}">
                <a16:creationId xmlns:a16="http://schemas.microsoft.com/office/drawing/2014/main" id="{B48EEB44-B3DC-269B-0374-2F95861E900C}"/>
              </a:ext>
            </a:extLst>
          </p:cNvPr>
          <p:cNvSpPr/>
          <p:nvPr/>
        </p:nvSpPr>
        <p:spPr>
          <a:xfrm>
            <a:off x="568460" y="2651154"/>
            <a:ext cx="5012873" cy="3891261"/>
          </a:xfrm>
          <a:prstGeom prst="roundRect">
            <a:avLst>
              <a:gd name="adj" fmla="val 5896"/>
            </a:avLst>
          </a:prstGeom>
          <a:solidFill>
            <a:schemeClr val="accent5">
              <a:lumMod val="20000"/>
              <a:lumOff val="80000"/>
            </a:schemeClr>
          </a:solidFill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ED7D31">
                  <a:lumMod val="20000"/>
                  <a:lumOff val="8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8" name="Imagen 47">
            <a:extLst>
              <a:ext uri="{FF2B5EF4-FFF2-40B4-BE49-F238E27FC236}">
                <a16:creationId xmlns:a16="http://schemas.microsoft.com/office/drawing/2014/main" id="{80786395-F75C-309A-0FA9-2238324DF6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1541" y="3283172"/>
            <a:ext cx="467027" cy="360000"/>
          </a:xfrm>
          <a:prstGeom prst="rect">
            <a:avLst/>
          </a:prstGeom>
        </p:spPr>
      </p:pic>
      <p:pic>
        <p:nvPicPr>
          <p:cNvPr id="49" name="Imagen 48">
            <a:extLst>
              <a:ext uri="{FF2B5EF4-FFF2-40B4-BE49-F238E27FC236}">
                <a16:creationId xmlns:a16="http://schemas.microsoft.com/office/drawing/2014/main" id="{6771EBFC-7ACC-92AC-207F-B11D5CFDF8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7442" y="4666193"/>
            <a:ext cx="467027" cy="360000"/>
          </a:xfrm>
          <a:prstGeom prst="rect">
            <a:avLst/>
          </a:prstGeom>
        </p:spPr>
      </p:pic>
      <p:sp>
        <p:nvSpPr>
          <p:cNvPr id="50" name="CuadroTexto 49">
            <a:extLst>
              <a:ext uri="{FF2B5EF4-FFF2-40B4-BE49-F238E27FC236}">
                <a16:creationId xmlns:a16="http://schemas.microsoft.com/office/drawing/2014/main" id="{25532BBD-A612-9195-9343-6C036C5A15B3}"/>
              </a:ext>
            </a:extLst>
          </p:cNvPr>
          <p:cNvSpPr txBox="1"/>
          <p:nvPr/>
        </p:nvSpPr>
        <p:spPr>
          <a:xfrm>
            <a:off x="3540222" y="4337003"/>
            <a:ext cx="895100" cy="286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LHCL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cxnSp>
        <p:nvCxnSpPr>
          <p:cNvPr id="51" name="Conector recto de flecha 50">
            <a:extLst>
              <a:ext uri="{FF2B5EF4-FFF2-40B4-BE49-F238E27FC236}">
                <a16:creationId xmlns:a16="http://schemas.microsoft.com/office/drawing/2014/main" id="{AE54AF2A-0A9D-0F2B-55BB-0A2650FA681C}"/>
              </a:ext>
            </a:extLst>
          </p:cNvPr>
          <p:cNvCxnSpPr>
            <a:cxnSpLocks/>
            <a:stCxn id="48" idx="2"/>
            <a:endCxn id="69" idx="0"/>
          </p:cNvCxnSpPr>
          <p:nvPr/>
        </p:nvCxnSpPr>
        <p:spPr>
          <a:xfrm flipH="1">
            <a:off x="2999751" y="3643172"/>
            <a:ext cx="5304" cy="20644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CuadroTexto 52">
            <a:extLst>
              <a:ext uri="{FF2B5EF4-FFF2-40B4-BE49-F238E27FC236}">
                <a16:creationId xmlns:a16="http://schemas.microsoft.com/office/drawing/2014/main" id="{46E745F3-6156-1ADB-60C9-3AD7BBD43256}"/>
              </a:ext>
            </a:extLst>
          </p:cNvPr>
          <p:cNvSpPr txBox="1"/>
          <p:nvPr/>
        </p:nvSpPr>
        <p:spPr>
          <a:xfrm>
            <a:off x="2289322" y="2977177"/>
            <a:ext cx="1380195" cy="2616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C_EjecutaJobs.ksh</a:t>
            </a:r>
            <a:endParaRPr kumimoji="0" lang="es-PE" sz="11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5" name="Imagen 54">
            <a:extLst>
              <a:ext uri="{FF2B5EF4-FFF2-40B4-BE49-F238E27FC236}">
                <a16:creationId xmlns:a16="http://schemas.microsoft.com/office/drawing/2014/main" id="{88147917-A0D5-821C-2B8B-77416A84D8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2071" y="2047843"/>
            <a:ext cx="601413" cy="510877"/>
          </a:xfrm>
          <a:prstGeom prst="rect">
            <a:avLst/>
          </a:prstGeom>
        </p:spPr>
      </p:pic>
      <p:pic>
        <p:nvPicPr>
          <p:cNvPr id="56" name="Imagen 55">
            <a:extLst>
              <a:ext uri="{FF2B5EF4-FFF2-40B4-BE49-F238E27FC236}">
                <a16:creationId xmlns:a16="http://schemas.microsoft.com/office/drawing/2014/main" id="{BC8728C2-038C-74B2-A1A1-B72B8D307B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5206" y="5525907"/>
            <a:ext cx="593851" cy="593851"/>
          </a:xfrm>
          <a:prstGeom prst="rect">
            <a:avLst/>
          </a:prstGeom>
        </p:spPr>
      </p:pic>
      <p:cxnSp>
        <p:nvCxnSpPr>
          <p:cNvPr id="57" name="Conector recto de flecha 56">
            <a:extLst>
              <a:ext uri="{FF2B5EF4-FFF2-40B4-BE49-F238E27FC236}">
                <a16:creationId xmlns:a16="http://schemas.microsoft.com/office/drawing/2014/main" id="{6A94FC8D-68D4-DFBB-4F5A-177C8FD222E7}"/>
              </a:ext>
            </a:extLst>
          </p:cNvPr>
          <p:cNvCxnSpPr>
            <a:cxnSpLocks/>
          </p:cNvCxnSpPr>
          <p:nvPr/>
        </p:nvCxnSpPr>
        <p:spPr>
          <a:xfrm>
            <a:off x="4120596" y="5062514"/>
            <a:ext cx="0" cy="438487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CuadroTexto 57">
            <a:extLst>
              <a:ext uri="{FF2B5EF4-FFF2-40B4-BE49-F238E27FC236}">
                <a16:creationId xmlns:a16="http://schemas.microsoft.com/office/drawing/2014/main" id="{E76B50A5-885C-2B8E-FB66-264FD5EEDAB9}"/>
              </a:ext>
            </a:extLst>
          </p:cNvPr>
          <p:cNvSpPr txBox="1"/>
          <p:nvPr/>
        </p:nvSpPr>
        <p:spPr>
          <a:xfrm>
            <a:off x="3233265" y="5086683"/>
            <a:ext cx="1980000" cy="2616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C_EjecutaJobsLHCL.ksh</a:t>
            </a:r>
            <a:endParaRPr kumimoji="0" lang="es-PE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770C0415-282E-CF10-14D6-3781E2A86B92}"/>
              </a:ext>
            </a:extLst>
          </p:cNvPr>
          <p:cNvSpPr txBox="1"/>
          <p:nvPr/>
        </p:nvSpPr>
        <p:spPr>
          <a:xfrm>
            <a:off x="182929" y="2403720"/>
            <a:ext cx="191872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ALLA: LKDV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pic>
        <p:nvPicPr>
          <p:cNvPr id="63" name="Imagen 62">
            <a:extLst>
              <a:ext uri="{FF2B5EF4-FFF2-40B4-BE49-F238E27FC236}">
                <a16:creationId xmlns:a16="http://schemas.microsoft.com/office/drawing/2014/main" id="{6F607082-1D1D-33E7-4280-0042112455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83190" y="4624397"/>
            <a:ext cx="467028" cy="360000"/>
          </a:xfrm>
          <a:prstGeom prst="rect">
            <a:avLst/>
          </a:prstGeom>
        </p:spPr>
      </p:pic>
      <p:sp>
        <p:nvSpPr>
          <p:cNvPr id="64" name="CuadroTexto 63">
            <a:extLst>
              <a:ext uri="{FF2B5EF4-FFF2-40B4-BE49-F238E27FC236}">
                <a16:creationId xmlns:a16="http://schemas.microsoft.com/office/drawing/2014/main" id="{2FA88DA6-D7E7-17BF-7727-0BC68319E91D}"/>
              </a:ext>
            </a:extLst>
          </p:cNvPr>
          <p:cNvSpPr txBox="1"/>
          <p:nvPr/>
        </p:nvSpPr>
        <p:spPr>
          <a:xfrm>
            <a:off x="1093434" y="4382797"/>
            <a:ext cx="895100" cy="286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LKDV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61BDDF92-6579-BB79-A651-782CA1F545EC}"/>
              </a:ext>
            </a:extLst>
          </p:cNvPr>
          <p:cNvSpPr txBox="1"/>
          <p:nvPr/>
        </p:nvSpPr>
        <p:spPr>
          <a:xfrm>
            <a:off x="554024" y="5501001"/>
            <a:ext cx="98461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3663" marR="0" lvl="0" indent="-936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atastage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93663" marR="0" lvl="0" indent="-936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park</a:t>
            </a:r>
            <a:endParaRPr kumimoji="0" lang="es-ES" sz="12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93663" marR="0" lvl="0" indent="-936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Hive</a:t>
            </a:r>
            <a:endParaRPr kumimoji="0" lang="es-ES" sz="12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cxnSp>
        <p:nvCxnSpPr>
          <p:cNvPr id="66" name="Conector recto de flecha 65">
            <a:extLst>
              <a:ext uri="{FF2B5EF4-FFF2-40B4-BE49-F238E27FC236}">
                <a16:creationId xmlns:a16="http://schemas.microsoft.com/office/drawing/2014/main" id="{FA4EF06F-79DE-449F-204A-823779D4D2FB}"/>
              </a:ext>
            </a:extLst>
          </p:cNvPr>
          <p:cNvCxnSpPr>
            <a:cxnSpLocks/>
            <a:stCxn id="63" idx="2"/>
            <a:endCxn id="67" idx="0"/>
          </p:cNvCxnSpPr>
          <p:nvPr/>
        </p:nvCxnSpPr>
        <p:spPr>
          <a:xfrm>
            <a:off x="1816704" y="4984397"/>
            <a:ext cx="9848" cy="52366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Imagen 66">
            <a:extLst>
              <a:ext uri="{FF2B5EF4-FFF2-40B4-BE49-F238E27FC236}">
                <a16:creationId xmlns:a16="http://schemas.microsoft.com/office/drawing/2014/main" id="{79AFE566-461C-718C-FD0D-A7D40E8CF8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94956" y="5508059"/>
            <a:ext cx="663191" cy="663191"/>
          </a:xfrm>
          <a:prstGeom prst="rect">
            <a:avLst/>
          </a:prstGeom>
        </p:spPr>
      </p:pic>
      <p:pic>
        <p:nvPicPr>
          <p:cNvPr id="69" name="Imagen 68">
            <a:extLst>
              <a:ext uri="{FF2B5EF4-FFF2-40B4-BE49-F238E27FC236}">
                <a16:creationId xmlns:a16="http://schemas.microsoft.com/office/drawing/2014/main" id="{1614B244-098C-4B8A-7AF3-1E28EE97CA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66237" y="3849614"/>
            <a:ext cx="467028" cy="360000"/>
          </a:xfrm>
          <a:prstGeom prst="rect">
            <a:avLst/>
          </a:prstGeom>
        </p:spPr>
      </p:pic>
      <p:cxnSp>
        <p:nvCxnSpPr>
          <p:cNvPr id="70" name="Conector: angular 69">
            <a:extLst>
              <a:ext uri="{FF2B5EF4-FFF2-40B4-BE49-F238E27FC236}">
                <a16:creationId xmlns:a16="http://schemas.microsoft.com/office/drawing/2014/main" id="{9890D461-2FB8-0F0E-21C9-C8DF0A00CF30}"/>
              </a:ext>
            </a:extLst>
          </p:cNvPr>
          <p:cNvCxnSpPr>
            <a:cxnSpLocks/>
            <a:stCxn id="69" idx="1"/>
            <a:endCxn id="63" idx="0"/>
          </p:cNvCxnSpPr>
          <p:nvPr/>
        </p:nvCxnSpPr>
        <p:spPr>
          <a:xfrm rot="10800000" flipV="1">
            <a:off x="1816705" y="4029613"/>
            <a:ext cx="949533" cy="594783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: angular 70">
            <a:extLst>
              <a:ext uri="{FF2B5EF4-FFF2-40B4-BE49-F238E27FC236}">
                <a16:creationId xmlns:a16="http://schemas.microsoft.com/office/drawing/2014/main" id="{54F31B23-6E5D-9EDF-1C33-934111CACB06}"/>
              </a:ext>
            </a:extLst>
          </p:cNvPr>
          <p:cNvCxnSpPr>
            <a:cxnSpLocks/>
            <a:stCxn id="69" idx="3"/>
            <a:endCxn id="49" idx="0"/>
          </p:cNvCxnSpPr>
          <p:nvPr/>
        </p:nvCxnSpPr>
        <p:spPr>
          <a:xfrm>
            <a:off x="3233265" y="4029614"/>
            <a:ext cx="927691" cy="636579"/>
          </a:xfrm>
          <a:prstGeom prst="bentConnector2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uadroTexto 71">
            <a:extLst>
              <a:ext uri="{FF2B5EF4-FFF2-40B4-BE49-F238E27FC236}">
                <a16:creationId xmlns:a16="http://schemas.microsoft.com/office/drawing/2014/main" id="{20EA882F-D733-8739-11AE-693EB78AC016}"/>
              </a:ext>
            </a:extLst>
          </p:cNvPr>
          <p:cNvSpPr txBox="1"/>
          <p:nvPr/>
        </p:nvSpPr>
        <p:spPr>
          <a:xfrm>
            <a:off x="906728" y="5045545"/>
            <a:ext cx="1925439" cy="261610"/>
          </a:xfrm>
          <a:prstGeom prst="rect">
            <a:avLst/>
          </a:prstGeom>
          <a:solidFill>
            <a:srgbClr val="DEEBF7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sz="1100" dirty="0" err="1">
                <a:solidFill>
                  <a:prstClr val="black"/>
                </a:solidFill>
                <a:latin typeface="Calibri" panose="020F0502020204030204"/>
              </a:rPr>
              <a:t>PRC_EjecutaJobsLKDV.ksh</a:t>
            </a:r>
            <a:endParaRPr lang="es-PE" sz="11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4" name="CuadroTexto 73">
            <a:extLst>
              <a:ext uri="{FF2B5EF4-FFF2-40B4-BE49-F238E27FC236}">
                <a16:creationId xmlns:a16="http://schemas.microsoft.com/office/drawing/2014/main" id="{7565F507-42E3-8BB5-611B-604594DA5F9D}"/>
              </a:ext>
            </a:extLst>
          </p:cNvPr>
          <p:cNvSpPr txBox="1"/>
          <p:nvPr/>
        </p:nvSpPr>
        <p:spPr>
          <a:xfrm>
            <a:off x="2047500" y="4040802"/>
            <a:ext cx="1872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sz="1100" dirty="0" err="1">
                <a:solidFill>
                  <a:prstClr val="black"/>
                </a:solidFill>
                <a:latin typeface="Calibri" panose="020F0502020204030204"/>
              </a:rPr>
              <a:t>ssh</a:t>
            </a:r>
            <a:r>
              <a:rPr lang="es-PE" sz="1100" dirty="0">
                <a:solidFill>
                  <a:prstClr val="black"/>
                </a:solidFill>
                <a:latin typeface="Calibri" panose="020F0502020204030204"/>
              </a:rPr>
              <a:t> </a:t>
            </a:r>
          </a:p>
          <a:p>
            <a:r>
              <a:rPr lang="es-PE" sz="1100" dirty="0"/>
              <a:t>     </a:t>
            </a:r>
            <a:r>
              <a:rPr lang="es-PE" sz="1100" dirty="0" err="1"/>
              <a:t>EjecutaJobs</a:t>
            </a:r>
            <a:r>
              <a:rPr lang="es-PE" sz="1100" b="1" dirty="0" err="1"/>
              <a:t>Switch</a:t>
            </a:r>
            <a:r>
              <a:rPr lang="es-PE" sz="1100" dirty="0" err="1"/>
              <a:t>.ksh</a:t>
            </a:r>
            <a:endParaRPr lang="es-PE" sz="1100" dirty="0"/>
          </a:p>
        </p:txBody>
      </p:sp>
      <p:cxnSp>
        <p:nvCxnSpPr>
          <p:cNvPr id="75" name="Conector recto de flecha 74">
            <a:extLst>
              <a:ext uri="{FF2B5EF4-FFF2-40B4-BE49-F238E27FC236}">
                <a16:creationId xmlns:a16="http://schemas.microsoft.com/office/drawing/2014/main" id="{74AA2877-05D2-EFCF-749C-BFA2D27DC351}"/>
              </a:ext>
            </a:extLst>
          </p:cNvPr>
          <p:cNvCxnSpPr>
            <a:cxnSpLocks/>
            <a:endCxn id="49" idx="1"/>
          </p:cNvCxnSpPr>
          <p:nvPr/>
        </p:nvCxnSpPr>
        <p:spPr>
          <a:xfrm flipV="1">
            <a:off x="2064654" y="4846193"/>
            <a:ext cx="1862788" cy="17897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CuadroTexto 77">
            <a:extLst>
              <a:ext uri="{FF2B5EF4-FFF2-40B4-BE49-F238E27FC236}">
                <a16:creationId xmlns:a16="http://schemas.microsoft.com/office/drawing/2014/main" id="{F950F546-7801-F171-AE77-3F6CA3F48404}"/>
              </a:ext>
            </a:extLst>
          </p:cNvPr>
          <p:cNvSpPr txBox="1"/>
          <p:nvPr/>
        </p:nvSpPr>
        <p:spPr>
          <a:xfrm>
            <a:off x="2782787" y="4976581"/>
            <a:ext cx="115233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s-PE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nohup</a:t>
            </a:r>
            <a:endParaRPr lang="es-PE" dirty="0">
              <a:highlight>
                <a:srgbClr val="FFFF00"/>
              </a:highlight>
            </a:endParaRPr>
          </a:p>
        </p:txBody>
      </p:sp>
      <p:sp>
        <p:nvSpPr>
          <p:cNvPr id="79" name="CuadroTexto 78">
            <a:extLst>
              <a:ext uri="{FF2B5EF4-FFF2-40B4-BE49-F238E27FC236}">
                <a16:creationId xmlns:a16="http://schemas.microsoft.com/office/drawing/2014/main" id="{D53664F6-3C60-8A8D-848D-380AFECC45BC}"/>
              </a:ext>
            </a:extLst>
          </p:cNvPr>
          <p:cNvSpPr txBox="1"/>
          <p:nvPr/>
        </p:nvSpPr>
        <p:spPr>
          <a:xfrm>
            <a:off x="4354226" y="5432288"/>
            <a:ext cx="121163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3663" indent="-93663">
              <a:buFont typeface="Wingdings" panose="05000000000000000000" pitchFamily="2" charset="2"/>
              <a:buChar char="ü"/>
              <a:defRPr/>
            </a:pPr>
            <a:r>
              <a:rPr kumimoji="0" lang="es-E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highlight>
                  <a:srgbClr val="FFFF00"/>
                </a:highlight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atastage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highlight>
                <a:srgbClr val="FFFF00"/>
              </a:highlight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93663" marR="0" lvl="0" indent="-936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atafactory</a:t>
            </a:r>
            <a:endParaRPr kumimoji="0" lang="es-ES" sz="12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93663" marR="0" lvl="0" indent="-936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s-ES" sz="1200" dirty="0" err="1">
                <a:solidFill>
                  <a:srgbClr val="1F1F1F"/>
                </a:solidFill>
                <a:latin typeface="Tw Cen MT" panose="020B0602020104020603" pitchFamily="34" charset="0"/>
              </a:rPr>
              <a:t>Databricks</a:t>
            </a:r>
            <a:endParaRPr kumimoji="0" lang="es-ES" sz="12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93663" marR="0" lvl="0" indent="-936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s-ES" sz="1200" dirty="0" err="1">
                <a:solidFill>
                  <a:srgbClr val="1F1F1F"/>
                </a:solidFill>
                <a:latin typeface="Tw Cen MT" panose="020B0602020104020603" pitchFamily="34" charset="0"/>
              </a:rPr>
              <a:t>Bash</a:t>
            </a:r>
            <a:endParaRPr kumimoji="0" lang="es-ES" sz="12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sp>
        <p:nvSpPr>
          <p:cNvPr id="98" name="CuadroTexto 97">
            <a:extLst>
              <a:ext uri="{FF2B5EF4-FFF2-40B4-BE49-F238E27FC236}">
                <a16:creationId xmlns:a16="http://schemas.microsoft.com/office/drawing/2014/main" id="{672A8F0C-046D-3D99-EBA5-E3BE6424A0CE}"/>
              </a:ext>
            </a:extLst>
          </p:cNvPr>
          <p:cNvSpPr txBox="1"/>
          <p:nvPr/>
        </p:nvSpPr>
        <p:spPr>
          <a:xfrm>
            <a:off x="588295" y="354947"/>
            <a:ext cx="46448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MODO CONVIVENCIA RUTINA LHCL +LKDV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56881D9-2498-D611-9F82-F50EA8A130D6}"/>
              </a:ext>
            </a:extLst>
          </p:cNvPr>
          <p:cNvSpPr txBox="1"/>
          <p:nvPr/>
        </p:nvSpPr>
        <p:spPr>
          <a:xfrm>
            <a:off x="3763555" y="3083909"/>
            <a:ext cx="1778864" cy="27699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>
            <a:defPPr>
              <a:defRPr lang="es-PE"/>
            </a:defPPr>
            <a:lvl1pPr>
              <a:defRPr sz="1400"/>
            </a:lvl1pPr>
          </a:lstStyle>
          <a:p>
            <a:r>
              <a:rPr lang="es-PE" sz="1200" dirty="0"/>
              <a:t>config_ejecuta.ini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BAA2E43-61D2-8534-D56B-63BEEFBEC59E}"/>
              </a:ext>
            </a:extLst>
          </p:cNvPr>
          <p:cNvSpPr txBox="1"/>
          <p:nvPr/>
        </p:nvSpPr>
        <p:spPr>
          <a:xfrm>
            <a:off x="3757200" y="3379652"/>
            <a:ext cx="1785219" cy="3108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PE"/>
            </a:defPPr>
            <a:lvl1pPr>
              <a:defRPr sz="1200">
                <a:solidFill>
                  <a:prstClr val="black"/>
                </a:solidFill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s-PE" sz="1100" b="1" dirty="0">
              <a:highlight>
                <a:srgbClr val="FFFF00"/>
              </a:highlight>
            </a:endParaRPr>
          </a:p>
          <a:p>
            <a:r>
              <a:rPr lang="es-PE" sz="900" dirty="0"/>
              <a:t>PRM_ENABLE_CONVIVENCIA=1</a:t>
            </a:r>
            <a:endParaRPr lang="es-PE" sz="900" b="1" dirty="0">
              <a:highlight>
                <a:srgbClr val="FFFF00"/>
              </a:highlight>
            </a:endParaRPr>
          </a:p>
          <a:p>
            <a:r>
              <a:rPr lang="es-PE" sz="900" dirty="0"/>
              <a:t>PRM_ENABLE_ASYNC_FLAGS=1</a:t>
            </a:r>
          </a:p>
          <a:p>
            <a:endParaRPr lang="es-PE" dirty="0"/>
          </a:p>
        </p:txBody>
      </p:sp>
      <p:cxnSp>
        <p:nvCxnSpPr>
          <p:cNvPr id="105" name="Conector: angular 104">
            <a:extLst>
              <a:ext uri="{FF2B5EF4-FFF2-40B4-BE49-F238E27FC236}">
                <a16:creationId xmlns:a16="http://schemas.microsoft.com/office/drawing/2014/main" id="{51C27EB4-6293-3DFB-B3DB-C28E64F9CDA2}"/>
              </a:ext>
            </a:extLst>
          </p:cNvPr>
          <p:cNvCxnSpPr>
            <a:cxnSpLocks/>
            <a:stCxn id="5" idx="2"/>
          </p:cNvCxnSpPr>
          <p:nvPr/>
        </p:nvCxnSpPr>
        <p:spPr>
          <a:xfrm rot="5400000">
            <a:off x="3789782" y="3055941"/>
            <a:ext cx="225440" cy="1494616"/>
          </a:xfrm>
          <a:prstGeom prst="bentConnector2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ector recto de flecha 84">
            <a:extLst>
              <a:ext uri="{FF2B5EF4-FFF2-40B4-BE49-F238E27FC236}">
                <a16:creationId xmlns:a16="http://schemas.microsoft.com/office/drawing/2014/main" id="{56CF642C-8E09-EC7D-FF65-B9D1AFF8F226}"/>
              </a:ext>
            </a:extLst>
          </p:cNvPr>
          <p:cNvCxnSpPr>
            <a:cxnSpLocks/>
          </p:cNvCxnSpPr>
          <p:nvPr/>
        </p:nvCxnSpPr>
        <p:spPr>
          <a:xfrm>
            <a:off x="2996123" y="2577382"/>
            <a:ext cx="0" cy="39600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Imagen 67">
            <a:extLst>
              <a:ext uri="{FF2B5EF4-FFF2-40B4-BE49-F238E27FC236}">
                <a16:creationId xmlns:a16="http://schemas.microsoft.com/office/drawing/2014/main" id="{0BF9D87E-A1F2-6CB0-BEF8-EC6F7E6F18F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59695" y="4725452"/>
            <a:ext cx="334211" cy="338174"/>
          </a:xfrm>
          <a:prstGeom prst="rect">
            <a:avLst/>
          </a:prstGeom>
        </p:spPr>
      </p:pic>
      <p:sp>
        <p:nvSpPr>
          <p:cNvPr id="152" name="Rectángulo: esquinas redondeadas 151">
            <a:extLst>
              <a:ext uri="{FF2B5EF4-FFF2-40B4-BE49-F238E27FC236}">
                <a16:creationId xmlns:a16="http://schemas.microsoft.com/office/drawing/2014/main" id="{DBEFB261-AFAE-15A5-8DDF-E385031E2A25}"/>
              </a:ext>
            </a:extLst>
          </p:cNvPr>
          <p:cNvSpPr/>
          <p:nvPr/>
        </p:nvSpPr>
        <p:spPr>
          <a:xfrm>
            <a:off x="6552005" y="2651154"/>
            <a:ext cx="5085972" cy="3846389"/>
          </a:xfrm>
          <a:prstGeom prst="roundRect">
            <a:avLst>
              <a:gd name="adj" fmla="val 5896"/>
            </a:avLst>
          </a:prstGeom>
          <a:solidFill>
            <a:schemeClr val="accent5">
              <a:lumMod val="20000"/>
              <a:lumOff val="80000"/>
            </a:schemeClr>
          </a:solidFill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ED7D31">
                  <a:lumMod val="20000"/>
                  <a:lumOff val="8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3" name="Imagen 152">
            <a:extLst>
              <a:ext uri="{FF2B5EF4-FFF2-40B4-BE49-F238E27FC236}">
                <a16:creationId xmlns:a16="http://schemas.microsoft.com/office/drawing/2014/main" id="{6B716F29-5CDC-9D54-13C0-CF6C3D2744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5085" y="3238300"/>
            <a:ext cx="467027" cy="360000"/>
          </a:xfrm>
          <a:prstGeom prst="rect">
            <a:avLst/>
          </a:prstGeom>
        </p:spPr>
      </p:pic>
      <p:pic>
        <p:nvPicPr>
          <p:cNvPr id="154" name="Imagen 153">
            <a:extLst>
              <a:ext uri="{FF2B5EF4-FFF2-40B4-BE49-F238E27FC236}">
                <a16:creationId xmlns:a16="http://schemas.microsoft.com/office/drawing/2014/main" id="{E13F472B-0448-8FB6-E279-97CC5FBDB2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10986" y="4621321"/>
            <a:ext cx="467027" cy="360000"/>
          </a:xfrm>
          <a:prstGeom prst="rect">
            <a:avLst/>
          </a:prstGeom>
        </p:spPr>
      </p:pic>
      <p:sp>
        <p:nvSpPr>
          <p:cNvPr id="155" name="CuadroTexto 154">
            <a:extLst>
              <a:ext uri="{FF2B5EF4-FFF2-40B4-BE49-F238E27FC236}">
                <a16:creationId xmlns:a16="http://schemas.microsoft.com/office/drawing/2014/main" id="{16D2FA82-3344-8804-BF77-89535B63127A}"/>
              </a:ext>
            </a:extLst>
          </p:cNvPr>
          <p:cNvSpPr txBox="1"/>
          <p:nvPr/>
        </p:nvSpPr>
        <p:spPr>
          <a:xfrm>
            <a:off x="9531559" y="4319819"/>
            <a:ext cx="895100" cy="286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LHCL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cxnSp>
        <p:nvCxnSpPr>
          <p:cNvPr id="156" name="Conector recto de flecha 155">
            <a:extLst>
              <a:ext uri="{FF2B5EF4-FFF2-40B4-BE49-F238E27FC236}">
                <a16:creationId xmlns:a16="http://schemas.microsoft.com/office/drawing/2014/main" id="{1F2DC7E2-0E08-4425-A591-84E1D341F1AE}"/>
              </a:ext>
            </a:extLst>
          </p:cNvPr>
          <p:cNvCxnSpPr>
            <a:cxnSpLocks/>
            <a:stCxn id="153" idx="2"/>
            <a:endCxn id="167" idx="0"/>
          </p:cNvCxnSpPr>
          <p:nvPr/>
        </p:nvCxnSpPr>
        <p:spPr>
          <a:xfrm flipH="1">
            <a:off x="8983295" y="3598300"/>
            <a:ext cx="5304" cy="20644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CuadroTexto 156">
            <a:extLst>
              <a:ext uri="{FF2B5EF4-FFF2-40B4-BE49-F238E27FC236}">
                <a16:creationId xmlns:a16="http://schemas.microsoft.com/office/drawing/2014/main" id="{452437BC-BDA6-CCED-691B-3317433E83AB}"/>
              </a:ext>
            </a:extLst>
          </p:cNvPr>
          <p:cNvSpPr txBox="1"/>
          <p:nvPr/>
        </p:nvSpPr>
        <p:spPr>
          <a:xfrm>
            <a:off x="8211076" y="2912669"/>
            <a:ext cx="1380195" cy="2616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C_EjecutaJobs.ksh</a:t>
            </a:r>
            <a:endParaRPr kumimoji="0" lang="es-PE" sz="11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8" name="Imagen 157">
            <a:extLst>
              <a:ext uri="{FF2B5EF4-FFF2-40B4-BE49-F238E27FC236}">
                <a16:creationId xmlns:a16="http://schemas.microsoft.com/office/drawing/2014/main" id="{44169138-7D64-B5EC-0743-C2223F877C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38326" y="2043133"/>
            <a:ext cx="601413" cy="510877"/>
          </a:xfrm>
          <a:prstGeom prst="rect">
            <a:avLst/>
          </a:prstGeom>
        </p:spPr>
      </p:pic>
      <p:pic>
        <p:nvPicPr>
          <p:cNvPr id="159" name="Imagen 158">
            <a:extLst>
              <a:ext uri="{FF2B5EF4-FFF2-40B4-BE49-F238E27FC236}">
                <a16:creationId xmlns:a16="http://schemas.microsoft.com/office/drawing/2014/main" id="{B705EB88-4AD3-05F1-4C23-3ED0705B57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98750" y="5481035"/>
            <a:ext cx="593851" cy="593851"/>
          </a:xfrm>
          <a:prstGeom prst="rect">
            <a:avLst/>
          </a:prstGeom>
        </p:spPr>
      </p:pic>
      <p:cxnSp>
        <p:nvCxnSpPr>
          <p:cNvPr id="160" name="Conector recto de flecha 159">
            <a:extLst>
              <a:ext uri="{FF2B5EF4-FFF2-40B4-BE49-F238E27FC236}">
                <a16:creationId xmlns:a16="http://schemas.microsoft.com/office/drawing/2014/main" id="{0CF191A2-53BE-112D-5B52-C9FD94DA18E6}"/>
              </a:ext>
            </a:extLst>
          </p:cNvPr>
          <p:cNvCxnSpPr>
            <a:cxnSpLocks/>
          </p:cNvCxnSpPr>
          <p:nvPr/>
        </p:nvCxnSpPr>
        <p:spPr>
          <a:xfrm>
            <a:off x="10104140" y="4935162"/>
            <a:ext cx="0" cy="520967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CuadroTexto 160">
            <a:extLst>
              <a:ext uri="{FF2B5EF4-FFF2-40B4-BE49-F238E27FC236}">
                <a16:creationId xmlns:a16="http://schemas.microsoft.com/office/drawing/2014/main" id="{2207B840-754E-8AAB-881B-31C057A8B4A8}"/>
              </a:ext>
            </a:extLst>
          </p:cNvPr>
          <p:cNvSpPr txBox="1"/>
          <p:nvPr/>
        </p:nvSpPr>
        <p:spPr>
          <a:xfrm>
            <a:off x="9216809" y="5041811"/>
            <a:ext cx="1980000" cy="2616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C_EjecutaJobsLHCL.ksh</a:t>
            </a:r>
            <a:endParaRPr kumimoji="0" lang="es-PE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62" name="Imagen 161">
            <a:extLst>
              <a:ext uri="{FF2B5EF4-FFF2-40B4-BE49-F238E27FC236}">
                <a16:creationId xmlns:a16="http://schemas.microsoft.com/office/drawing/2014/main" id="{ABF399DD-3D1F-8DAF-AA27-20019E34BDCF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7566734" y="4579525"/>
            <a:ext cx="467028" cy="360000"/>
          </a:xfrm>
          <a:prstGeom prst="rect">
            <a:avLst/>
          </a:prstGeom>
        </p:spPr>
      </p:pic>
      <p:sp>
        <p:nvSpPr>
          <p:cNvPr id="163" name="CuadroTexto 162">
            <a:extLst>
              <a:ext uri="{FF2B5EF4-FFF2-40B4-BE49-F238E27FC236}">
                <a16:creationId xmlns:a16="http://schemas.microsoft.com/office/drawing/2014/main" id="{B47DB641-272F-5E2F-0EFB-4FE0CE8B7D84}"/>
              </a:ext>
            </a:extLst>
          </p:cNvPr>
          <p:cNvSpPr txBox="1"/>
          <p:nvPr/>
        </p:nvSpPr>
        <p:spPr>
          <a:xfrm>
            <a:off x="7076978" y="4337925"/>
            <a:ext cx="895100" cy="286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LKDV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sp>
        <p:nvSpPr>
          <p:cNvPr id="164" name="CuadroTexto 163">
            <a:extLst>
              <a:ext uri="{FF2B5EF4-FFF2-40B4-BE49-F238E27FC236}">
                <a16:creationId xmlns:a16="http://schemas.microsoft.com/office/drawing/2014/main" id="{C65A7879-57B2-C62B-88D3-F00810549C87}"/>
              </a:ext>
            </a:extLst>
          </p:cNvPr>
          <p:cNvSpPr txBox="1"/>
          <p:nvPr/>
        </p:nvSpPr>
        <p:spPr>
          <a:xfrm>
            <a:off x="6537568" y="5456129"/>
            <a:ext cx="98461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3663" marR="0" lvl="0" indent="-936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atastage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93663" marR="0" lvl="0" indent="-936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park</a:t>
            </a:r>
            <a:endParaRPr kumimoji="0" lang="es-ES" sz="12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93663" marR="0" lvl="0" indent="-936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Hive</a:t>
            </a:r>
            <a:endParaRPr kumimoji="0" lang="es-ES" sz="12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cxnSp>
        <p:nvCxnSpPr>
          <p:cNvPr id="165" name="Conector recto de flecha 164">
            <a:extLst>
              <a:ext uri="{FF2B5EF4-FFF2-40B4-BE49-F238E27FC236}">
                <a16:creationId xmlns:a16="http://schemas.microsoft.com/office/drawing/2014/main" id="{23687033-F2AC-0FD6-E5EA-7D6E0D66E57F}"/>
              </a:ext>
            </a:extLst>
          </p:cNvPr>
          <p:cNvCxnSpPr>
            <a:cxnSpLocks/>
            <a:stCxn id="162" idx="2"/>
            <a:endCxn id="166" idx="0"/>
          </p:cNvCxnSpPr>
          <p:nvPr/>
        </p:nvCxnSpPr>
        <p:spPr>
          <a:xfrm>
            <a:off x="7800248" y="4939525"/>
            <a:ext cx="9848" cy="523662"/>
          </a:xfrm>
          <a:prstGeom prst="straightConnector1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6" name="Imagen 165">
            <a:extLst>
              <a:ext uri="{FF2B5EF4-FFF2-40B4-BE49-F238E27FC236}">
                <a16:creationId xmlns:a16="http://schemas.microsoft.com/office/drawing/2014/main" id="{799307C3-519D-B2C4-A866-A923B1A57886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</a:blip>
          <a:stretch>
            <a:fillRect/>
          </a:stretch>
        </p:blipFill>
        <p:spPr>
          <a:xfrm>
            <a:off x="7478500" y="5463187"/>
            <a:ext cx="663191" cy="663191"/>
          </a:xfrm>
          <a:prstGeom prst="rect">
            <a:avLst/>
          </a:prstGeom>
        </p:spPr>
      </p:pic>
      <p:pic>
        <p:nvPicPr>
          <p:cNvPr id="167" name="Imagen 166">
            <a:extLst>
              <a:ext uri="{FF2B5EF4-FFF2-40B4-BE49-F238E27FC236}">
                <a16:creationId xmlns:a16="http://schemas.microsoft.com/office/drawing/2014/main" id="{F08C46AF-5855-1217-1F1E-A574163CBD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49781" y="3804742"/>
            <a:ext cx="467028" cy="360000"/>
          </a:xfrm>
          <a:prstGeom prst="rect">
            <a:avLst/>
          </a:prstGeom>
        </p:spPr>
      </p:pic>
      <p:cxnSp>
        <p:nvCxnSpPr>
          <p:cNvPr id="168" name="Conector: angular 167">
            <a:extLst>
              <a:ext uri="{FF2B5EF4-FFF2-40B4-BE49-F238E27FC236}">
                <a16:creationId xmlns:a16="http://schemas.microsoft.com/office/drawing/2014/main" id="{3534B7D1-CC8A-3AA2-F4E8-B0D1C670EB20}"/>
              </a:ext>
            </a:extLst>
          </p:cNvPr>
          <p:cNvCxnSpPr>
            <a:cxnSpLocks/>
            <a:stCxn id="167" idx="1"/>
            <a:endCxn id="162" idx="0"/>
          </p:cNvCxnSpPr>
          <p:nvPr/>
        </p:nvCxnSpPr>
        <p:spPr>
          <a:xfrm rot="10800000" flipV="1">
            <a:off x="7800249" y="3984741"/>
            <a:ext cx="949533" cy="594783"/>
          </a:xfrm>
          <a:prstGeom prst="bentConnector2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Conector: angular 168">
            <a:extLst>
              <a:ext uri="{FF2B5EF4-FFF2-40B4-BE49-F238E27FC236}">
                <a16:creationId xmlns:a16="http://schemas.microsoft.com/office/drawing/2014/main" id="{F478D0FB-2047-0F2C-2E62-1B0CA2D7E3A2}"/>
              </a:ext>
            </a:extLst>
          </p:cNvPr>
          <p:cNvCxnSpPr>
            <a:cxnSpLocks/>
            <a:stCxn id="167" idx="3"/>
            <a:endCxn id="154" idx="0"/>
          </p:cNvCxnSpPr>
          <p:nvPr/>
        </p:nvCxnSpPr>
        <p:spPr>
          <a:xfrm>
            <a:off x="9216809" y="3984742"/>
            <a:ext cx="927691" cy="636579"/>
          </a:xfrm>
          <a:prstGeom prst="bentConnector2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CuadroTexto 169">
            <a:extLst>
              <a:ext uri="{FF2B5EF4-FFF2-40B4-BE49-F238E27FC236}">
                <a16:creationId xmlns:a16="http://schemas.microsoft.com/office/drawing/2014/main" id="{9FBC7C64-27DD-179D-CF85-EADEFAD411FD}"/>
              </a:ext>
            </a:extLst>
          </p:cNvPr>
          <p:cNvSpPr txBox="1"/>
          <p:nvPr/>
        </p:nvSpPr>
        <p:spPr>
          <a:xfrm>
            <a:off x="6890272" y="5000673"/>
            <a:ext cx="1925439" cy="261610"/>
          </a:xfrm>
          <a:prstGeom prst="rect">
            <a:avLst/>
          </a:prstGeom>
          <a:solidFill>
            <a:srgbClr val="DEEBF7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sz="1100" dirty="0" err="1">
                <a:solidFill>
                  <a:schemeClr val="bg1">
                    <a:lumMod val="75000"/>
                  </a:schemeClr>
                </a:solidFill>
                <a:latin typeface="Calibri" panose="020F0502020204030204"/>
              </a:rPr>
              <a:t>PRC_EjecutaJobsLKDV.ksh</a:t>
            </a:r>
            <a:endParaRPr lang="es-PE" sz="1100" dirty="0">
              <a:solidFill>
                <a:schemeClr val="bg1">
                  <a:lumMod val="75000"/>
                </a:schemeClr>
              </a:solidFill>
              <a:latin typeface="Calibri" panose="020F0502020204030204"/>
            </a:endParaRPr>
          </a:p>
        </p:txBody>
      </p:sp>
      <p:sp>
        <p:nvSpPr>
          <p:cNvPr id="171" name="CuadroTexto 170">
            <a:extLst>
              <a:ext uri="{FF2B5EF4-FFF2-40B4-BE49-F238E27FC236}">
                <a16:creationId xmlns:a16="http://schemas.microsoft.com/office/drawing/2014/main" id="{3CD8E34C-E79C-2519-EBA1-4D00E66A2240}"/>
              </a:ext>
            </a:extLst>
          </p:cNvPr>
          <p:cNvSpPr txBox="1"/>
          <p:nvPr/>
        </p:nvSpPr>
        <p:spPr>
          <a:xfrm>
            <a:off x="8067722" y="4014480"/>
            <a:ext cx="1872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sz="1100" dirty="0" err="1">
                <a:solidFill>
                  <a:prstClr val="black"/>
                </a:solidFill>
                <a:latin typeface="Calibri" panose="020F0502020204030204"/>
              </a:rPr>
              <a:t>ssh</a:t>
            </a:r>
            <a:r>
              <a:rPr lang="es-PE" sz="1100" dirty="0">
                <a:solidFill>
                  <a:prstClr val="black"/>
                </a:solidFill>
                <a:latin typeface="Calibri" panose="020F0502020204030204"/>
              </a:rPr>
              <a:t> </a:t>
            </a:r>
          </a:p>
          <a:p>
            <a:r>
              <a:rPr lang="es-PE" sz="1100" dirty="0"/>
              <a:t>     </a:t>
            </a:r>
            <a:r>
              <a:rPr lang="es-PE" sz="1100" dirty="0" err="1"/>
              <a:t>EjecutaJobs</a:t>
            </a:r>
            <a:r>
              <a:rPr lang="es-PE" sz="1100" b="1" dirty="0" err="1"/>
              <a:t>Switch</a:t>
            </a:r>
            <a:r>
              <a:rPr lang="es-PE" sz="1100" dirty="0" err="1"/>
              <a:t>.ksh</a:t>
            </a:r>
            <a:endParaRPr lang="es-PE" sz="1100" dirty="0"/>
          </a:p>
        </p:txBody>
      </p:sp>
      <p:cxnSp>
        <p:nvCxnSpPr>
          <p:cNvPr id="172" name="Conector recto de flecha 171">
            <a:extLst>
              <a:ext uri="{FF2B5EF4-FFF2-40B4-BE49-F238E27FC236}">
                <a16:creationId xmlns:a16="http://schemas.microsoft.com/office/drawing/2014/main" id="{80D78C97-37C8-CF0C-5BC6-49EA849033C7}"/>
              </a:ext>
            </a:extLst>
          </p:cNvPr>
          <p:cNvCxnSpPr>
            <a:cxnSpLocks/>
            <a:endCxn id="154" idx="1"/>
          </p:cNvCxnSpPr>
          <p:nvPr/>
        </p:nvCxnSpPr>
        <p:spPr>
          <a:xfrm flipV="1">
            <a:off x="8048198" y="4801321"/>
            <a:ext cx="1862788" cy="17897"/>
          </a:xfrm>
          <a:prstGeom prst="straightConnector1">
            <a:avLst/>
          </a:prstGeom>
          <a:ln w="28575">
            <a:solidFill>
              <a:schemeClr val="bg2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CuadroTexto 172">
            <a:extLst>
              <a:ext uri="{FF2B5EF4-FFF2-40B4-BE49-F238E27FC236}">
                <a16:creationId xmlns:a16="http://schemas.microsoft.com/office/drawing/2014/main" id="{08503A04-8C04-6735-27C5-C0955CF826E1}"/>
              </a:ext>
            </a:extLst>
          </p:cNvPr>
          <p:cNvSpPr txBox="1"/>
          <p:nvPr/>
        </p:nvSpPr>
        <p:spPr>
          <a:xfrm>
            <a:off x="8766331" y="4931709"/>
            <a:ext cx="115233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s-PE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hup</a:t>
            </a:r>
            <a:endParaRPr lang="es-PE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74" name="CuadroTexto 173">
            <a:extLst>
              <a:ext uri="{FF2B5EF4-FFF2-40B4-BE49-F238E27FC236}">
                <a16:creationId xmlns:a16="http://schemas.microsoft.com/office/drawing/2014/main" id="{90472171-342B-81E9-74E0-7A34DF4BB5B2}"/>
              </a:ext>
            </a:extLst>
          </p:cNvPr>
          <p:cNvSpPr txBox="1"/>
          <p:nvPr/>
        </p:nvSpPr>
        <p:spPr>
          <a:xfrm>
            <a:off x="10337770" y="5387416"/>
            <a:ext cx="121163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3663" indent="-93663">
              <a:buFont typeface="Wingdings" panose="05000000000000000000" pitchFamily="2" charset="2"/>
              <a:buChar char="ü"/>
              <a:defRPr/>
            </a:pPr>
            <a:r>
              <a:rPr kumimoji="0" lang="es-E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highlight>
                  <a:srgbClr val="FFFF00"/>
                </a:highlight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atastage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highlight>
                <a:srgbClr val="FFFF00"/>
              </a:highlight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93663" marR="0" lvl="0" indent="-936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atafactory</a:t>
            </a:r>
            <a:endParaRPr kumimoji="0" lang="es-ES" sz="12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93663" marR="0" lvl="0" indent="-936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s-ES" sz="1200" dirty="0" err="1">
                <a:solidFill>
                  <a:srgbClr val="1F1F1F"/>
                </a:solidFill>
                <a:latin typeface="Tw Cen MT" panose="020B0602020104020603" pitchFamily="34" charset="0"/>
              </a:rPr>
              <a:t>Databricks</a:t>
            </a:r>
            <a:endParaRPr kumimoji="0" lang="es-ES" sz="12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93663" marR="0" lvl="0" indent="-936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s-ES" sz="1200" dirty="0" err="1">
                <a:solidFill>
                  <a:srgbClr val="1F1F1F"/>
                </a:solidFill>
                <a:latin typeface="Tw Cen MT" panose="020B0602020104020603" pitchFamily="34" charset="0"/>
              </a:rPr>
              <a:t>Bash</a:t>
            </a:r>
            <a:endParaRPr kumimoji="0" lang="es-ES" sz="12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cxnSp>
        <p:nvCxnSpPr>
          <p:cNvPr id="177" name="Conector: angular 176">
            <a:extLst>
              <a:ext uri="{FF2B5EF4-FFF2-40B4-BE49-F238E27FC236}">
                <a16:creationId xmlns:a16="http://schemas.microsoft.com/office/drawing/2014/main" id="{0DF3671C-2BB4-3857-CD5E-6DD072BC5ADA}"/>
              </a:ext>
            </a:extLst>
          </p:cNvPr>
          <p:cNvCxnSpPr>
            <a:cxnSpLocks/>
          </p:cNvCxnSpPr>
          <p:nvPr/>
        </p:nvCxnSpPr>
        <p:spPr>
          <a:xfrm rot="5400000">
            <a:off x="9773326" y="3011069"/>
            <a:ext cx="225440" cy="1494616"/>
          </a:xfrm>
          <a:prstGeom prst="bentConnector2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Conector recto de flecha 177">
            <a:extLst>
              <a:ext uri="{FF2B5EF4-FFF2-40B4-BE49-F238E27FC236}">
                <a16:creationId xmlns:a16="http://schemas.microsoft.com/office/drawing/2014/main" id="{899911C7-24FC-C38B-4DBB-36DC43B9C200}"/>
              </a:ext>
            </a:extLst>
          </p:cNvPr>
          <p:cNvCxnSpPr>
            <a:cxnSpLocks/>
          </p:cNvCxnSpPr>
          <p:nvPr/>
        </p:nvCxnSpPr>
        <p:spPr>
          <a:xfrm>
            <a:off x="8939033" y="2542219"/>
            <a:ext cx="0" cy="39600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9" name="Imagen 178">
            <a:extLst>
              <a:ext uri="{FF2B5EF4-FFF2-40B4-BE49-F238E27FC236}">
                <a16:creationId xmlns:a16="http://schemas.microsoft.com/office/drawing/2014/main" id="{4940B801-9C32-33CA-A53A-07270812B170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</a:blip>
          <a:stretch>
            <a:fillRect/>
          </a:stretch>
        </p:blipFill>
        <p:spPr>
          <a:xfrm>
            <a:off x="8843239" y="4680580"/>
            <a:ext cx="334211" cy="338174"/>
          </a:xfrm>
          <a:prstGeom prst="rect">
            <a:avLst/>
          </a:prstGeom>
        </p:spPr>
      </p:pic>
      <p:sp>
        <p:nvSpPr>
          <p:cNvPr id="180" name="CuadroTexto 179">
            <a:extLst>
              <a:ext uri="{FF2B5EF4-FFF2-40B4-BE49-F238E27FC236}">
                <a16:creationId xmlns:a16="http://schemas.microsoft.com/office/drawing/2014/main" id="{665DEDF8-3F09-B9FC-1627-6592210B9AAF}"/>
              </a:ext>
            </a:extLst>
          </p:cNvPr>
          <p:cNvSpPr txBox="1"/>
          <p:nvPr/>
        </p:nvSpPr>
        <p:spPr>
          <a:xfrm>
            <a:off x="6148994" y="2403720"/>
            <a:ext cx="191872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ALLA: LKDV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A81BEB62-4834-EA95-4551-183D0B25CAB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45550" y="3115774"/>
            <a:ext cx="1803851" cy="519312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181" name="Imagen 180">
            <a:extLst>
              <a:ext uri="{FF2B5EF4-FFF2-40B4-BE49-F238E27FC236}">
                <a16:creationId xmlns:a16="http://schemas.microsoft.com/office/drawing/2014/main" id="{E82DE79F-B1AD-AFE2-B68C-059C7249839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520" y="2765701"/>
            <a:ext cx="319782" cy="319782"/>
          </a:xfrm>
          <a:prstGeom prst="rect">
            <a:avLst/>
          </a:prstGeom>
        </p:spPr>
      </p:pic>
      <p:sp>
        <p:nvSpPr>
          <p:cNvPr id="182" name="CuadroTexto 181">
            <a:extLst>
              <a:ext uri="{FF2B5EF4-FFF2-40B4-BE49-F238E27FC236}">
                <a16:creationId xmlns:a16="http://schemas.microsoft.com/office/drawing/2014/main" id="{30C31740-07DE-FF28-F36F-D1ADF98BF7D5}"/>
              </a:ext>
            </a:extLst>
          </p:cNvPr>
          <p:cNvSpPr txBox="1"/>
          <p:nvPr/>
        </p:nvSpPr>
        <p:spPr>
          <a:xfrm>
            <a:off x="9972047" y="2798117"/>
            <a:ext cx="821554" cy="274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74405">
              <a:defRPr/>
            </a:pPr>
            <a:r>
              <a:rPr lang="es-PE" sz="1186" dirty="0">
                <a:solidFill>
                  <a:srgbClr val="C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ORACLE</a:t>
            </a:r>
          </a:p>
        </p:txBody>
      </p:sp>
      <p:sp>
        <p:nvSpPr>
          <p:cNvPr id="185" name="CuadroTexto 184">
            <a:extLst>
              <a:ext uri="{FF2B5EF4-FFF2-40B4-BE49-F238E27FC236}">
                <a16:creationId xmlns:a16="http://schemas.microsoft.com/office/drawing/2014/main" id="{C545E358-33DA-E765-F827-70C5BA1DBA39}"/>
              </a:ext>
            </a:extLst>
          </p:cNvPr>
          <p:cNvSpPr txBox="1"/>
          <p:nvPr/>
        </p:nvSpPr>
        <p:spPr>
          <a:xfrm>
            <a:off x="6537568" y="294527"/>
            <a:ext cx="46448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8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MODO SIN CONVIVENCIA</a:t>
            </a:r>
          </a:p>
          <a:p>
            <a:r>
              <a:rPr lang="es-PE" sz="28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OR PROCESO</a:t>
            </a:r>
          </a:p>
        </p:txBody>
      </p:sp>
      <p:sp>
        <p:nvSpPr>
          <p:cNvPr id="196" name="CuadroTexto 195">
            <a:extLst>
              <a:ext uri="{FF2B5EF4-FFF2-40B4-BE49-F238E27FC236}">
                <a16:creationId xmlns:a16="http://schemas.microsoft.com/office/drawing/2014/main" id="{9ADCAAE2-4E69-B167-6645-D1A06E10B077}"/>
              </a:ext>
            </a:extLst>
          </p:cNvPr>
          <p:cNvSpPr txBox="1"/>
          <p:nvPr/>
        </p:nvSpPr>
        <p:spPr>
          <a:xfrm>
            <a:off x="624269" y="1317409"/>
            <a:ext cx="49012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 dirty="0"/>
              <a:t>Por defecto todos los procesos de la rutina de LHCL y LKDV se ejecutan en modo convivencia. Esto se debe a que el archivo de configuración de la Shell genérica tiene activado el modo convivencia con validación de banderas.</a:t>
            </a:r>
            <a:endParaRPr lang="es-PE" sz="1200" dirty="0"/>
          </a:p>
        </p:txBody>
      </p:sp>
      <p:sp>
        <p:nvSpPr>
          <p:cNvPr id="197" name="CuadroTexto 196">
            <a:extLst>
              <a:ext uri="{FF2B5EF4-FFF2-40B4-BE49-F238E27FC236}">
                <a16:creationId xmlns:a16="http://schemas.microsoft.com/office/drawing/2014/main" id="{E9732C5A-A67D-82D8-ABB0-48190477042D}"/>
              </a:ext>
            </a:extLst>
          </p:cNvPr>
          <p:cNvSpPr txBox="1"/>
          <p:nvPr/>
        </p:nvSpPr>
        <p:spPr>
          <a:xfrm>
            <a:off x="6552005" y="1293581"/>
            <a:ext cx="49012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 dirty="0"/>
              <a:t>Para desactivar la convivencia para cada proceso, registre el valor 0 en la variable de convivencia en la tabla de parámetros de LHCL. Además, para evitar validar banderas, registre el valor 0.</a:t>
            </a:r>
            <a:endParaRPr lang="es-PE" sz="1200" dirty="0"/>
          </a:p>
        </p:txBody>
      </p:sp>
    </p:spTree>
    <p:extLst>
      <p:ext uri="{BB962C8B-B14F-4D97-AF65-F5344CB8AC3E}">
        <p14:creationId xmlns:p14="http://schemas.microsoft.com/office/powerpoint/2010/main" val="17909296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redondeado 7"/>
          <p:cNvSpPr/>
          <p:nvPr/>
        </p:nvSpPr>
        <p:spPr>
          <a:xfrm>
            <a:off x="6147088" y="155807"/>
            <a:ext cx="5180664" cy="3430634"/>
          </a:xfrm>
          <a:prstGeom prst="roundRect">
            <a:avLst>
              <a:gd name="adj" fmla="val 2238"/>
            </a:avLst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6957">
              <a:defRPr/>
            </a:pPr>
            <a:endParaRPr lang="es-PE" sz="1686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1848479" y="2182825"/>
            <a:ext cx="1261880" cy="101049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6957">
              <a:defRPr/>
            </a:pPr>
            <a:r>
              <a:rPr lang="es-PE" sz="2624" b="1" dirty="0">
                <a:solidFill>
                  <a:srgbClr val="66FF33"/>
                </a:solidFill>
                <a:latin typeface="Arial"/>
              </a:rPr>
              <a:t>JOB @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1734291" y="1757147"/>
            <a:ext cx="1582883" cy="35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56957">
              <a:defRPr/>
            </a:pPr>
            <a:r>
              <a:rPr lang="es-PE" sz="1686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MAINFRAME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1054" y="2281423"/>
            <a:ext cx="816971" cy="816971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6011230" y="3078033"/>
            <a:ext cx="1639413" cy="265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56957">
              <a:defRPr/>
            </a:pPr>
            <a:r>
              <a:rPr lang="es-PE" sz="1124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PRC_EjecutaJobs</a:t>
            </a:r>
          </a:p>
        </p:txBody>
      </p:sp>
      <p:cxnSp>
        <p:nvCxnSpPr>
          <p:cNvPr id="9" name="Conector recto de flecha 8"/>
          <p:cNvCxnSpPr>
            <a:stCxn id="4" idx="3"/>
            <a:endCxn id="6" idx="1"/>
          </p:cNvCxnSpPr>
          <p:nvPr/>
        </p:nvCxnSpPr>
        <p:spPr>
          <a:xfrm>
            <a:off x="3110359" y="2688075"/>
            <a:ext cx="3450695" cy="1834"/>
          </a:xfrm>
          <a:prstGeom prst="straightConnector1">
            <a:avLst/>
          </a:prstGeom>
          <a:ln w="38100" cmpd="sng">
            <a:solidFill>
              <a:srgbClr val="00206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4" descr="Resultado de imagen para datastage logo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74" t="22540" r="3997" b="23962"/>
          <a:stretch/>
        </p:blipFill>
        <p:spPr bwMode="auto">
          <a:xfrm>
            <a:off x="9411010" y="523338"/>
            <a:ext cx="1614090" cy="613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Conector recto de flecha 16"/>
          <p:cNvCxnSpPr>
            <a:cxnSpLocks/>
            <a:stCxn id="6" idx="3"/>
          </p:cNvCxnSpPr>
          <p:nvPr/>
        </p:nvCxnSpPr>
        <p:spPr>
          <a:xfrm flipV="1">
            <a:off x="7378025" y="874012"/>
            <a:ext cx="1987343" cy="1815897"/>
          </a:xfrm>
          <a:prstGeom prst="straightConnector1">
            <a:avLst/>
          </a:prstGeom>
          <a:ln w="38100">
            <a:solidFill>
              <a:srgbClr val="FF0000"/>
            </a:solidFill>
            <a:prstDash val="sysDot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Llamada con línea 1 22"/>
          <p:cNvSpPr/>
          <p:nvPr/>
        </p:nvSpPr>
        <p:spPr>
          <a:xfrm>
            <a:off x="480332" y="5045689"/>
            <a:ext cx="5605501" cy="1132460"/>
          </a:xfrm>
          <a:prstGeom prst="borderCallout1">
            <a:avLst>
              <a:gd name="adj1" fmla="val -356"/>
              <a:gd name="adj2" fmla="val 35796"/>
              <a:gd name="adj3" fmla="val -165120"/>
              <a:gd name="adj4" fmla="val 35866"/>
            </a:avLst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6957">
              <a:defRPr/>
            </a:pPr>
            <a:endParaRPr lang="es-PE" sz="1686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0130" y="874012"/>
            <a:ext cx="758815" cy="758815"/>
          </a:xfrm>
          <a:prstGeom prst="rect">
            <a:avLst/>
          </a:prstGeom>
        </p:spPr>
      </p:pic>
      <p:sp>
        <p:nvSpPr>
          <p:cNvPr id="24" name="CuadroTexto 23"/>
          <p:cNvSpPr txBox="1"/>
          <p:nvPr/>
        </p:nvSpPr>
        <p:spPr>
          <a:xfrm>
            <a:off x="6514988" y="556177"/>
            <a:ext cx="909097" cy="294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56957">
              <a:defRPr/>
            </a:pPr>
            <a:r>
              <a:rPr lang="es-PE" sz="1312">
                <a:solidFill>
                  <a:srgbClr val="C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ORACLE</a:t>
            </a:r>
          </a:p>
        </p:txBody>
      </p:sp>
      <p:sp>
        <p:nvSpPr>
          <p:cNvPr id="11" name="Rectángulo redondeado 10"/>
          <p:cNvSpPr/>
          <p:nvPr/>
        </p:nvSpPr>
        <p:spPr>
          <a:xfrm>
            <a:off x="6192047" y="194376"/>
            <a:ext cx="2670613" cy="397621"/>
          </a:xfrm>
          <a:prstGeom prst="roundRect">
            <a:avLst>
              <a:gd name="adj" fmla="val 809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6957">
              <a:defRPr/>
            </a:pPr>
            <a:r>
              <a:rPr lang="es-PE" sz="1686" b="1" dirty="0">
                <a:solidFill>
                  <a:srgbClr val="000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DATALAKE ONPREMISE</a:t>
            </a:r>
          </a:p>
        </p:txBody>
      </p:sp>
      <p:sp>
        <p:nvSpPr>
          <p:cNvPr id="25" name="CuadroTexto 24"/>
          <p:cNvSpPr txBox="1"/>
          <p:nvPr/>
        </p:nvSpPr>
        <p:spPr>
          <a:xfrm>
            <a:off x="287551" y="522755"/>
            <a:ext cx="51280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56957"/>
            <a:r>
              <a:rPr lang="es-PE" sz="24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HABILITACIÓN DE TECNOLOGIA DSTG EN CLOUD</a:t>
            </a:r>
          </a:p>
        </p:txBody>
      </p:sp>
      <p:cxnSp>
        <p:nvCxnSpPr>
          <p:cNvPr id="51" name="Conector recto de flecha 50"/>
          <p:cNvCxnSpPr>
            <a:stCxn id="6" idx="0"/>
            <a:endCxn id="2" idx="2"/>
          </p:cNvCxnSpPr>
          <p:nvPr/>
        </p:nvCxnSpPr>
        <p:spPr>
          <a:xfrm flipH="1" flipV="1">
            <a:off x="6969539" y="1632828"/>
            <a:ext cx="1" cy="648596"/>
          </a:xfrm>
          <a:prstGeom prst="straightConnector1">
            <a:avLst/>
          </a:prstGeom>
          <a:ln w="38100">
            <a:solidFill>
              <a:srgbClr val="00206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n 20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83" t="11212" b="34445"/>
          <a:stretch/>
        </p:blipFill>
        <p:spPr>
          <a:xfrm>
            <a:off x="9418947" y="1260914"/>
            <a:ext cx="1618068" cy="764828"/>
          </a:xfrm>
          <a:prstGeom prst="rect">
            <a:avLst/>
          </a:prstGeom>
        </p:spPr>
      </p:pic>
      <p:cxnSp>
        <p:nvCxnSpPr>
          <p:cNvPr id="26" name="Conector recto de flecha 25"/>
          <p:cNvCxnSpPr>
            <a:cxnSpLocks/>
            <a:stCxn id="6" idx="3"/>
            <a:endCxn id="21" idx="1"/>
          </p:cNvCxnSpPr>
          <p:nvPr/>
        </p:nvCxnSpPr>
        <p:spPr>
          <a:xfrm flipV="1">
            <a:off x="7378025" y="1643328"/>
            <a:ext cx="2040922" cy="1046581"/>
          </a:xfrm>
          <a:prstGeom prst="straightConnector1">
            <a:avLst/>
          </a:prstGeom>
          <a:ln w="38100">
            <a:solidFill>
              <a:srgbClr val="00206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de flecha 28"/>
          <p:cNvCxnSpPr>
            <a:cxnSpLocks/>
            <a:stCxn id="6" idx="3"/>
            <a:endCxn id="18" idx="1"/>
          </p:cNvCxnSpPr>
          <p:nvPr/>
        </p:nvCxnSpPr>
        <p:spPr>
          <a:xfrm flipV="1">
            <a:off x="7378025" y="2396335"/>
            <a:ext cx="2089888" cy="293574"/>
          </a:xfrm>
          <a:prstGeom prst="straightConnector1">
            <a:avLst/>
          </a:prstGeom>
          <a:ln w="38100">
            <a:solidFill>
              <a:srgbClr val="00206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uadroTexto 33"/>
          <p:cNvSpPr txBox="1"/>
          <p:nvPr/>
        </p:nvSpPr>
        <p:spPr>
          <a:xfrm>
            <a:off x="7230753" y="908203"/>
            <a:ext cx="1627668" cy="726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7799" indent="-267799" defTabSz="856957">
              <a:buFont typeface="Arial" panose="020B0604020202020204" pitchFamily="34" charset="0"/>
              <a:buChar char="•"/>
              <a:defRPr/>
            </a:pPr>
            <a:r>
              <a:rPr lang="es-PE" sz="103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Nombre del objeto</a:t>
            </a:r>
          </a:p>
          <a:p>
            <a:pPr marL="267799" indent="-267799" defTabSz="856957">
              <a:buFont typeface="Arial" panose="020B0604020202020204" pitchFamily="34" charset="0"/>
              <a:buChar char="•"/>
              <a:defRPr/>
            </a:pPr>
            <a:r>
              <a:rPr lang="es-PE" sz="103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Ruta del objeto</a:t>
            </a:r>
          </a:p>
          <a:p>
            <a:pPr marL="267799" indent="-267799" defTabSz="856957">
              <a:buFont typeface="Arial" panose="020B0604020202020204" pitchFamily="34" charset="0"/>
              <a:buChar char="•"/>
              <a:defRPr/>
            </a:pPr>
            <a:r>
              <a:rPr lang="es-PE" sz="103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arámetros</a:t>
            </a:r>
          </a:p>
          <a:p>
            <a:pPr marL="267799" indent="-267799" defTabSz="856957">
              <a:buFont typeface="Arial" panose="020B0604020202020204" pitchFamily="34" charset="0"/>
              <a:buChar char="•"/>
              <a:defRPr/>
            </a:pPr>
            <a:r>
              <a:rPr lang="es-PE" sz="103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Logs de ejecución</a:t>
            </a:r>
          </a:p>
        </p:txBody>
      </p:sp>
      <p:pic>
        <p:nvPicPr>
          <p:cNvPr id="18" name="Imagen 17" descr="Imagen que contiene imágenes prediseñadas&#10;&#10;Descripción generada con confianza muy alta">
            <a:extLst>
              <a:ext uri="{FF2B5EF4-FFF2-40B4-BE49-F238E27FC236}">
                <a16:creationId xmlns:a16="http://schemas.microsoft.com/office/drawing/2014/main" id="{33572C97-155A-4449-8B1D-81543110412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913" y="1942824"/>
            <a:ext cx="1246094" cy="907021"/>
          </a:xfrm>
          <a:prstGeom prst="rect">
            <a:avLst/>
          </a:prstGeom>
        </p:spPr>
      </p:pic>
      <p:pic>
        <p:nvPicPr>
          <p:cNvPr id="1026" name="Picture 2" descr="An introduction to BIN Bash-ing on Raspbian - Flipboard">
            <a:extLst>
              <a:ext uri="{FF2B5EF4-FFF2-40B4-BE49-F238E27FC236}">
                <a16:creationId xmlns:a16="http://schemas.microsoft.com/office/drawing/2014/main" id="{E858E20A-394D-4835-B505-94173FA3D8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81" t="19896" r="32465" b="18390"/>
          <a:stretch/>
        </p:blipFill>
        <p:spPr bwMode="auto">
          <a:xfrm>
            <a:off x="6609841" y="2461972"/>
            <a:ext cx="739104" cy="495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ndia becomes key development, innovation hub for CA Technologies - The Week">
            <a:extLst>
              <a:ext uri="{FF2B5EF4-FFF2-40B4-BE49-F238E27FC236}">
                <a16:creationId xmlns:a16="http://schemas.microsoft.com/office/drawing/2014/main" id="{9655E0F3-A7CA-4A96-B883-DA2B56BB23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692" y="2548973"/>
            <a:ext cx="1316491" cy="767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Conector recto de flecha 28">
            <a:extLst>
              <a:ext uri="{FF2B5EF4-FFF2-40B4-BE49-F238E27FC236}">
                <a16:creationId xmlns:a16="http://schemas.microsoft.com/office/drawing/2014/main" id="{24325CDA-4AD0-4E82-AEC9-1265008E5C23}"/>
              </a:ext>
            </a:extLst>
          </p:cNvPr>
          <p:cNvCxnSpPr>
            <a:cxnSpLocks/>
            <a:stCxn id="6" idx="3"/>
            <a:endCxn id="35" idx="1"/>
          </p:cNvCxnSpPr>
          <p:nvPr/>
        </p:nvCxnSpPr>
        <p:spPr>
          <a:xfrm>
            <a:off x="7378025" y="2689909"/>
            <a:ext cx="2534042" cy="401121"/>
          </a:xfrm>
          <a:prstGeom prst="straightConnector1">
            <a:avLst/>
          </a:prstGeom>
          <a:ln w="38100">
            <a:solidFill>
              <a:srgbClr val="00206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2" descr="An introduction to BIN Bash-ing on Raspbian - Flipboard">
            <a:extLst>
              <a:ext uri="{FF2B5EF4-FFF2-40B4-BE49-F238E27FC236}">
                <a16:creationId xmlns:a16="http://schemas.microsoft.com/office/drawing/2014/main" id="{80CD2E85-44CA-4B01-98F7-2EF8E909E7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81" t="19896" r="32465" b="18390"/>
          <a:stretch/>
        </p:blipFill>
        <p:spPr bwMode="auto">
          <a:xfrm>
            <a:off x="9912067" y="2843424"/>
            <a:ext cx="739104" cy="495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Rectángulo redondeado 7">
            <a:extLst>
              <a:ext uri="{FF2B5EF4-FFF2-40B4-BE49-F238E27FC236}">
                <a16:creationId xmlns:a16="http://schemas.microsoft.com/office/drawing/2014/main" id="{ED0777E7-3020-4B81-A38E-758EE75AF5EC}"/>
              </a:ext>
            </a:extLst>
          </p:cNvPr>
          <p:cNvSpPr/>
          <p:nvPr/>
        </p:nvSpPr>
        <p:spPr>
          <a:xfrm>
            <a:off x="6106169" y="3746648"/>
            <a:ext cx="5173048" cy="2457409"/>
          </a:xfrm>
          <a:prstGeom prst="roundRect">
            <a:avLst>
              <a:gd name="adj" fmla="val 2238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6957">
              <a:defRPr/>
            </a:pPr>
            <a:endParaRPr lang="es-PE" sz="1686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46" name="Imagen 45">
            <a:extLst>
              <a:ext uri="{FF2B5EF4-FFF2-40B4-BE49-F238E27FC236}">
                <a16:creationId xmlns:a16="http://schemas.microsoft.com/office/drawing/2014/main" id="{57A26ACD-F286-4DB0-AB22-9617FE33437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96374" y="4315879"/>
            <a:ext cx="885733" cy="441914"/>
          </a:xfrm>
          <a:prstGeom prst="rect">
            <a:avLst/>
          </a:prstGeom>
        </p:spPr>
      </p:pic>
      <p:cxnSp>
        <p:nvCxnSpPr>
          <p:cNvPr id="58" name="Conector recto de flecha 28">
            <a:extLst>
              <a:ext uri="{FF2B5EF4-FFF2-40B4-BE49-F238E27FC236}">
                <a16:creationId xmlns:a16="http://schemas.microsoft.com/office/drawing/2014/main" id="{85C42AFC-1604-4B32-9DA2-522D03B79ED0}"/>
              </a:ext>
            </a:extLst>
          </p:cNvPr>
          <p:cNvCxnSpPr>
            <a:cxnSpLocks/>
            <a:stCxn id="6" idx="3"/>
            <a:endCxn id="46" idx="0"/>
          </p:cNvCxnSpPr>
          <p:nvPr/>
        </p:nvCxnSpPr>
        <p:spPr>
          <a:xfrm>
            <a:off x="7378025" y="2689909"/>
            <a:ext cx="1561216" cy="1625970"/>
          </a:xfrm>
          <a:prstGeom prst="straightConnector1">
            <a:avLst/>
          </a:prstGeom>
          <a:ln w="38100">
            <a:solidFill>
              <a:srgbClr val="00206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ector recto de flecha 28">
            <a:extLst>
              <a:ext uri="{FF2B5EF4-FFF2-40B4-BE49-F238E27FC236}">
                <a16:creationId xmlns:a16="http://schemas.microsoft.com/office/drawing/2014/main" id="{D7031903-A9AF-4A4F-A162-832DE6C03158}"/>
              </a:ext>
            </a:extLst>
          </p:cNvPr>
          <p:cNvCxnSpPr>
            <a:cxnSpLocks/>
            <a:stCxn id="1026" idx="3"/>
            <a:endCxn id="3" idx="0"/>
          </p:cNvCxnSpPr>
          <p:nvPr/>
        </p:nvCxnSpPr>
        <p:spPr>
          <a:xfrm>
            <a:off x="7348945" y="2709578"/>
            <a:ext cx="478315" cy="1623148"/>
          </a:xfrm>
          <a:prstGeom prst="straightConnector1">
            <a:avLst/>
          </a:prstGeom>
          <a:ln w="38100">
            <a:solidFill>
              <a:srgbClr val="00206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ángulo redondeado 10">
            <a:extLst>
              <a:ext uri="{FF2B5EF4-FFF2-40B4-BE49-F238E27FC236}">
                <a16:creationId xmlns:a16="http://schemas.microsoft.com/office/drawing/2014/main" id="{917E54CE-24DE-4515-B797-89F12D0ECD75}"/>
              </a:ext>
            </a:extLst>
          </p:cNvPr>
          <p:cNvSpPr/>
          <p:nvPr/>
        </p:nvSpPr>
        <p:spPr>
          <a:xfrm>
            <a:off x="6177908" y="5817348"/>
            <a:ext cx="2779995" cy="322879"/>
          </a:xfrm>
          <a:prstGeom prst="roundRect">
            <a:avLst>
              <a:gd name="adj" fmla="val 809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6957">
              <a:defRPr/>
            </a:pPr>
            <a:r>
              <a:rPr lang="es-MX" sz="1875" b="1" dirty="0">
                <a:solidFill>
                  <a:srgbClr val="000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LAKEHOUSE</a:t>
            </a:r>
            <a:r>
              <a:rPr lang="es-MX" sz="1875" b="1" dirty="0">
                <a:solidFill>
                  <a:srgbClr val="000000"/>
                </a:solidFill>
                <a:latin typeface="Arial"/>
              </a:rPr>
              <a:t> </a:t>
            </a:r>
            <a:r>
              <a:rPr lang="es-MX" sz="1875" b="1" dirty="0">
                <a:solidFill>
                  <a:srgbClr val="000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CLOUD</a:t>
            </a:r>
            <a:endParaRPr lang="es-PE" sz="1875" b="1" dirty="0">
              <a:solidFill>
                <a:srgbClr val="000000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pic>
        <p:nvPicPr>
          <p:cNvPr id="1037" name="Imagen 1036">
            <a:extLst>
              <a:ext uri="{FF2B5EF4-FFF2-40B4-BE49-F238E27FC236}">
                <a16:creationId xmlns:a16="http://schemas.microsoft.com/office/drawing/2014/main" id="{835DF929-3BE9-48DD-8982-238BB7EEEE8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9434" y="5083361"/>
            <a:ext cx="5502685" cy="959022"/>
          </a:xfrm>
          <a:prstGeom prst="rect">
            <a:avLst/>
          </a:prstGeom>
        </p:spPr>
      </p:pic>
      <p:sp>
        <p:nvSpPr>
          <p:cNvPr id="43" name="Rectángulo 42"/>
          <p:cNvSpPr/>
          <p:nvPr/>
        </p:nvSpPr>
        <p:spPr>
          <a:xfrm>
            <a:off x="529434" y="5817348"/>
            <a:ext cx="2417311" cy="23222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56957">
              <a:defRPr/>
            </a:pPr>
            <a:endParaRPr lang="es-PE" sz="1686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3" name="Picture 2" descr="Next Pathway - About">
            <a:extLst>
              <a:ext uri="{FF2B5EF4-FFF2-40B4-BE49-F238E27FC236}">
                <a16:creationId xmlns:a16="http://schemas.microsoft.com/office/drawing/2014/main" id="{4CC0AC25-86A1-D57C-FB0A-0701A76252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98" r="15149"/>
          <a:stretch/>
        </p:blipFill>
        <p:spPr bwMode="auto">
          <a:xfrm>
            <a:off x="7207394" y="4332726"/>
            <a:ext cx="1239731" cy="518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An introduction to BIN Bash-ing on Raspbian - Flipboard">
            <a:extLst>
              <a:ext uri="{FF2B5EF4-FFF2-40B4-BE49-F238E27FC236}">
                <a16:creationId xmlns:a16="http://schemas.microsoft.com/office/drawing/2014/main" id="{5DAEF298-DE11-4167-8F4B-DE016F1D81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81" t="19896" r="32465" b="18390"/>
          <a:stretch/>
        </p:blipFill>
        <p:spPr bwMode="auto">
          <a:xfrm>
            <a:off x="6380193" y="4337771"/>
            <a:ext cx="739104" cy="495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Conector recto de flecha 28">
            <a:extLst>
              <a:ext uri="{FF2B5EF4-FFF2-40B4-BE49-F238E27FC236}">
                <a16:creationId xmlns:a16="http://schemas.microsoft.com/office/drawing/2014/main" id="{A5428205-6896-435E-8A46-4F66F1E5649F}"/>
              </a:ext>
            </a:extLst>
          </p:cNvPr>
          <p:cNvCxnSpPr>
            <a:cxnSpLocks/>
          </p:cNvCxnSpPr>
          <p:nvPr/>
        </p:nvCxnSpPr>
        <p:spPr>
          <a:xfrm flipH="1">
            <a:off x="6721506" y="2704514"/>
            <a:ext cx="664456" cy="1616219"/>
          </a:xfrm>
          <a:prstGeom prst="straightConnector1">
            <a:avLst/>
          </a:prstGeom>
          <a:ln w="38100">
            <a:solidFill>
              <a:srgbClr val="00206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DE2668BE-6B51-9CCE-AF36-6F308D898736}"/>
              </a:ext>
            </a:extLst>
          </p:cNvPr>
          <p:cNvSpPr/>
          <p:nvPr/>
        </p:nvSpPr>
        <p:spPr>
          <a:xfrm>
            <a:off x="9514985" y="4225379"/>
            <a:ext cx="1542861" cy="739076"/>
          </a:xfrm>
          <a:prstGeom prst="roundRect">
            <a:avLst/>
          </a:prstGeom>
          <a:noFill/>
          <a:ln w="19050"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4353" fontAlgn="base">
              <a:spcBef>
                <a:spcPct val="0"/>
              </a:spcBef>
              <a:spcAft>
                <a:spcPct val="0"/>
              </a:spcAft>
              <a:defRPr/>
            </a:pPr>
            <a:endParaRPr lang="es-PE" sz="1051" b="1" kern="0" dirty="0">
              <a:solidFill>
                <a:srgbClr val="000000">
                  <a:lumMod val="75000"/>
                  <a:lumOff val="25000"/>
                </a:srgbClr>
              </a:solidFill>
              <a:latin typeface="Arial"/>
              <a:cs typeface="Arial" pitchFamily="34" charset="0"/>
            </a:endParaRPr>
          </a:p>
        </p:txBody>
      </p:sp>
      <p:pic>
        <p:nvPicPr>
          <p:cNvPr id="44" name="Picture 4" descr="Resultado de imagen para datastage logo">
            <a:extLst>
              <a:ext uri="{FF2B5EF4-FFF2-40B4-BE49-F238E27FC236}">
                <a16:creationId xmlns:a16="http://schemas.microsoft.com/office/drawing/2014/main" id="{4D352055-046F-360E-7767-5E65467485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74" t="22540" r="3997" b="23962"/>
          <a:stretch/>
        </p:blipFill>
        <p:spPr bwMode="auto">
          <a:xfrm>
            <a:off x="9572445" y="4299500"/>
            <a:ext cx="1359301" cy="516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5" name="Conector recto de flecha 28">
            <a:extLst>
              <a:ext uri="{FF2B5EF4-FFF2-40B4-BE49-F238E27FC236}">
                <a16:creationId xmlns:a16="http://schemas.microsoft.com/office/drawing/2014/main" id="{6A9D752C-F721-651E-DA26-47026B2F8BAE}"/>
              </a:ext>
            </a:extLst>
          </p:cNvPr>
          <p:cNvCxnSpPr>
            <a:cxnSpLocks/>
          </p:cNvCxnSpPr>
          <p:nvPr/>
        </p:nvCxnSpPr>
        <p:spPr>
          <a:xfrm>
            <a:off x="7422011" y="2732839"/>
            <a:ext cx="2921510" cy="1492540"/>
          </a:xfrm>
          <a:prstGeom prst="straightConnector1">
            <a:avLst/>
          </a:prstGeom>
          <a:ln w="38100">
            <a:solidFill>
              <a:srgbClr val="00B05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ángulo: esquinas redondeadas 49">
            <a:extLst>
              <a:ext uri="{FF2B5EF4-FFF2-40B4-BE49-F238E27FC236}">
                <a16:creationId xmlns:a16="http://schemas.microsoft.com/office/drawing/2014/main" id="{F2184CE8-A17D-5E4E-DB1C-02F99B7F4EC7}"/>
              </a:ext>
            </a:extLst>
          </p:cNvPr>
          <p:cNvSpPr/>
          <p:nvPr/>
        </p:nvSpPr>
        <p:spPr>
          <a:xfrm>
            <a:off x="9365368" y="470015"/>
            <a:ext cx="1705373" cy="764827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4353" fontAlgn="base">
              <a:spcBef>
                <a:spcPct val="0"/>
              </a:spcBef>
              <a:spcAft>
                <a:spcPct val="0"/>
              </a:spcAft>
              <a:defRPr/>
            </a:pPr>
            <a:endParaRPr lang="es-PE" sz="1051" kern="0">
              <a:solidFill>
                <a:srgbClr val="000000">
                  <a:lumMod val="75000"/>
                  <a:lumOff val="25000"/>
                </a:srgbClr>
              </a:solidFill>
              <a:latin typeface="Arial"/>
              <a:cs typeface="Arial" pitchFamily="34" charset="0"/>
            </a:endParaRPr>
          </a:p>
        </p:txBody>
      </p:sp>
      <p:pic>
        <p:nvPicPr>
          <p:cNvPr id="75" name="Imagen 74">
            <a:extLst>
              <a:ext uri="{FF2B5EF4-FFF2-40B4-BE49-F238E27FC236}">
                <a16:creationId xmlns:a16="http://schemas.microsoft.com/office/drawing/2014/main" id="{8D9064C1-6F81-7F58-9852-D2B6F2EB235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5475" y="5160739"/>
            <a:ext cx="542973" cy="542973"/>
          </a:xfrm>
          <a:prstGeom prst="rect">
            <a:avLst/>
          </a:prstGeom>
        </p:spPr>
      </p:pic>
      <p:sp>
        <p:nvSpPr>
          <p:cNvPr id="76" name="CuadroTexto 75">
            <a:extLst>
              <a:ext uri="{FF2B5EF4-FFF2-40B4-BE49-F238E27FC236}">
                <a16:creationId xmlns:a16="http://schemas.microsoft.com/office/drawing/2014/main" id="{0E9E928E-58FC-9DCF-01B5-63ECC1A1879D}"/>
              </a:ext>
            </a:extLst>
          </p:cNvPr>
          <p:cNvSpPr txBox="1"/>
          <p:nvPr/>
        </p:nvSpPr>
        <p:spPr>
          <a:xfrm>
            <a:off x="6266474" y="4975353"/>
            <a:ext cx="821554" cy="274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74405">
              <a:defRPr/>
            </a:pPr>
            <a:r>
              <a:rPr lang="es-PE" sz="1186" dirty="0">
                <a:solidFill>
                  <a:srgbClr val="C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ORACLE</a:t>
            </a:r>
          </a:p>
        </p:txBody>
      </p:sp>
      <p:sp>
        <p:nvSpPr>
          <p:cNvPr id="80" name="CuadroTexto 79">
            <a:extLst>
              <a:ext uri="{FF2B5EF4-FFF2-40B4-BE49-F238E27FC236}">
                <a16:creationId xmlns:a16="http://schemas.microsoft.com/office/drawing/2014/main" id="{D37D857D-8BDC-5C55-9E43-7057C7DCB4B1}"/>
              </a:ext>
            </a:extLst>
          </p:cNvPr>
          <p:cNvSpPr txBox="1"/>
          <p:nvPr/>
        </p:nvSpPr>
        <p:spPr>
          <a:xfrm>
            <a:off x="6931947" y="5170411"/>
            <a:ext cx="361094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000" dirty="0"/>
              <a:t>ADMIN.CT_PROCESOCARGA_LHCL</a:t>
            </a:r>
          </a:p>
          <a:p>
            <a:r>
              <a:rPr lang="es-PE" sz="1000" dirty="0"/>
              <a:t>ADMIN.CT_PARAMETROPROCESOCARGA_LHCL</a:t>
            </a:r>
          </a:p>
          <a:p>
            <a:r>
              <a:rPr lang="es-PE" sz="1000" dirty="0">
                <a:highlight>
                  <a:srgbClr val="FFFF00"/>
                </a:highlight>
              </a:rPr>
              <a:t>ADMIN.CT_EJECUCIONPROCESOCARGA_LHCL</a:t>
            </a:r>
          </a:p>
        </p:txBody>
      </p:sp>
    </p:spTree>
    <p:extLst>
      <p:ext uri="{BB962C8B-B14F-4D97-AF65-F5344CB8AC3E}">
        <p14:creationId xmlns:p14="http://schemas.microsoft.com/office/powerpoint/2010/main" val="744626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ángulo 3">
            <a:extLst>
              <a:ext uri="{FF2B5EF4-FFF2-40B4-BE49-F238E27FC236}">
                <a16:creationId xmlns:a16="http://schemas.microsoft.com/office/drawing/2014/main" id="{AE625690-54C2-1FD0-5DDE-DC48921D4DED}"/>
              </a:ext>
            </a:extLst>
          </p:cNvPr>
          <p:cNvSpPr/>
          <p:nvPr/>
        </p:nvSpPr>
        <p:spPr>
          <a:xfrm>
            <a:off x="833402" y="1337331"/>
            <a:ext cx="1346518" cy="1078276"/>
          </a:xfrm>
          <a:prstGeom prst="rect">
            <a:avLst/>
          </a:prstGeom>
          <a:solidFill>
            <a:srgbClr val="000000"/>
          </a:solidFill>
          <a:ln w="25400" cap="flat" cmpd="sng" algn="ctr">
            <a:solidFill>
              <a:srgbClr val="0000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295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2400" b="1" i="0" u="none" strike="noStrike" kern="0" cap="none" spc="0" normalizeH="0" baseline="0" noProof="0" dirty="0">
                <a:ln>
                  <a:noFill/>
                </a:ln>
                <a:solidFill>
                  <a:srgbClr val="66FF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B @/#</a:t>
            </a:r>
          </a:p>
        </p:txBody>
      </p:sp>
      <p:pic>
        <p:nvPicPr>
          <p:cNvPr id="30" name="Imagen 5">
            <a:extLst>
              <a:ext uri="{FF2B5EF4-FFF2-40B4-BE49-F238E27FC236}">
                <a16:creationId xmlns:a16="http://schemas.microsoft.com/office/drawing/2014/main" id="{E1E9C8D9-D121-E9D3-0042-395A381482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2340" y="1434290"/>
            <a:ext cx="871768" cy="871768"/>
          </a:xfrm>
          <a:prstGeom prst="rect">
            <a:avLst/>
          </a:prstGeom>
        </p:spPr>
      </p:pic>
      <p:sp>
        <p:nvSpPr>
          <p:cNvPr id="31" name="CuadroTexto 6">
            <a:extLst>
              <a:ext uri="{FF2B5EF4-FFF2-40B4-BE49-F238E27FC236}">
                <a16:creationId xmlns:a16="http://schemas.microsoft.com/office/drawing/2014/main" id="{89E8FC36-AF90-8A5C-8371-CDBE7E8442F0}"/>
              </a:ext>
            </a:extLst>
          </p:cNvPr>
          <p:cNvSpPr txBox="1"/>
          <p:nvPr/>
        </p:nvSpPr>
        <p:spPr>
          <a:xfrm>
            <a:off x="5476356" y="2230507"/>
            <a:ext cx="2119866" cy="314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95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1400" dirty="0" err="1">
                <a:solidFill>
                  <a:srgbClr val="004A8F">
                    <a:lumMod val="75000"/>
                  </a:srgbClr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PRC_EjecutaJobs.ksh</a:t>
            </a:r>
            <a:endParaRPr lang="es-PE" sz="1400" dirty="0">
              <a:solidFill>
                <a:srgbClr val="004A8F">
                  <a:lumMod val="75000"/>
                </a:srgbClr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</p:txBody>
      </p:sp>
      <p:cxnSp>
        <p:nvCxnSpPr>
          <p:cNvPr id="32" name="Conector recto de flecha 8">
            <a:extLst>
              <a:ext uri="{FF2B5EF4-FFF2-40B4-BE49-F238E27FC236}">
                <a16:creationId xmlns:a16="http://schemas.microsoft.com/office/drawing/2014/main" id="{3F31AD18-EEFC-8EC4-BAA1-7DE20FF2ED3B}"/>
              </a:ext>
            </a:extLst>
          </p:cNvPr>
          <p:cNvCxnSpPr>
            <a:cxnSpLocks/>
            <a:stCxn id="29" idx="3"/>
            <a:endCxn id="30" idx="1"/>
          </p:cNvCxnSpPr>
          <p:nvPr/>
        </p:nvCxnSpPr>
        <p:spPr>
          <a:xfrm flipV="1">
            <a:off x="2179920" y="1870174"/>
            <a:ext cx="3662421" cy="6296"/>
          </a:xfrm>
          <a:prstGeom prst="straightConnector1">
            <a:avLst/>
          </a:prstGeom>
          <a:noFill/>
          <a:ln w="38100" cap="flat" cmpd="sng" algn="ctr">
            <a:solidFill>
              <a:srgbClr val="002060"/>
            </a:solidFill>
            <a:prstDash val="solid"/>
            <a:headEnd type="triangle"/>
            <a:tailEnd type="triangle"/>
          </a:ln>
          <a:effectLst/>
        </p:spPr>
      </p:cxnSp>
      <p:pic>
        <p:nvPicPr>
          <p:cNvPr id="33" name="Picture 2" descr="An introduction to BIN Bash-ing on Raspbian - Flipboard">
            <a:extLst>
              <a:ext uri="{FF2B5EF4-FFF2-40B4-BE49-F238E27FC236}">
                <a16:creationId xmlns:a16="http://schemas.microsoft.com/office/drawing/2014/main" id="{9A592907-B08A-8394-A27A-45C1295A31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81" t="19896" r="32465" b="18390"/>
          <a:stretch/>
        </p:blipFill>
        <p:spPr bwMode="auto">
          <a:xfrm>
            <a:off x="6003527" y="1619553"/>
            <a:ext cx="788679" cy="528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4" name="Conector recto de flecha 33">
            <a:extLst>
              <a:ext uri="{FF2B5EF4-FFF2-40B4-BE49-F238E27FC236}">
                <a16:creationId xmlns:a16="http://schemas.microsoft.com/office/drawing/2014/main" id="{FF042A8C-5E69-23BF-88BC-8B86ABAFD55C}"/>
              </a:ext>
            </a:extLst>
          </p:cNvPr>
          <p:cNvCxnSpPr>
            <a:cxnSpLocks/>
          </p:cNvCxnSpPr>
          <p:nvPr/>
        </p:nvCxnSpPr>
        <p:spPr>
          <a:xfrm>
            <a:off x="6411410" y="4256440"/>
            <a:ext cx="0" cy="542784"/>
          </a:xfrm>
          <a:prstGeom prst="straightConnector1">
            <a:avLst/>
          </a:prstGeom>
          <a:noFill/>
          <a:ln w="38100" cap="flat" cmpd="sng" algn="ctr">
            <a:solidFill>
              <a:srgbClr val="002060"/>
            </a:solidFill>
            <a:prstDash val="solid"/>
            <a:headEnd type="none"/>
            <a:tailEnd type="triangle"/>
          </a:ln>
          <a:effectLst/>
        </p:spPr>
      </p:cxnSp>
      <p:cxnSp>
        <p:nvCxnSpPr>
          <p:cNvPr id="35" name="Conector: angular 34">
            <a:extLst>
              <a:ext uri="{FF2B5EF4-FFF2-40B4-BE49-F238E27FC236}">
                <a16:creationId xmlns:a16="http://schemas.microsoft.com/office/drawing/2014/main" id="{BEFDD18A-D50D-8F68-7791-E38AB3A3F724}"/>
              </a:ext>
            </a:extLst>
          </p:cNvPr>
          <p:cNvCxnSpPr>
            <a:cxnSpLocks/>
            <a:stCxn id="41" idx="3"/>
            <a:endCxn id="38" idx="2"/>
          </p:cNvCxnSpPr>
          <p:nvPr/>
        </p:nvCxnSpPr>
        <p:spPr>
          <a:xfrm flipV="1">
            <a:off x="7528649" y="4240006"/>
            <a:ext cx="1759242" cy="631022"/>
          </a:xfrm>
          <a:prstGeom prst="bentConnector3">
            <a:avLst>
              <a:gd name="adj1" fmla="val 52121"/>
            </a:avLst>
          </a:prstGeom>
          <a:noFill/>
          <a:ln w="38100" cap="flat" cmpd="sng" algn="ctr">
            <a:solidFill>
              <a:srgbClr val="002060"/>
            </a:solidFill>
            <a:prstDash val="solid"/>
            <a:tailEnd type="triangle"/>
          </a:ln>
          <a:effectLst/>
        </p:spPr>
      </p:cxnSp>
      <p:cxnSp>
        <p:nvCxnSpPr>
          <p:cNvPr id="36" name="Conector recto de flecha 24">
            <a:extLst>
              <a:ext uri="{FF2B5EF4-FFF2-40B4-BE49-F238E27FC236}">
                <a16:creationId xmlns:a16="http://schemas.microsoft.com/office/drawing/2014/main" id="{15834B5B-4DEA-C87E-B5C2-9274B9F06E3B}"/>
              </a:ext>
            </a:extLst>
          </p:cNvPr>
          <p:cNvCxnSpPr>
            <a:cxnSpLocks/>
            <a:endCxn id="41" idx="1"/>
          </p:cNvCxnSpPr>
          <p:nvPr/>
        </p:nvCxnSpPr>
        <p:spPr>
          <a:xfrm flipV="1">
            <a:off x="2377268" y="4871028"/>
            <a:ext cx="2770165" cy="11660"/>
          </a:xfrm>
          <a:prstGeom prst="straightConnector1">
            <a:avLst/>
          </a:prstGeom>
          <a:noFill/>
          <a:ln w="38100" cap="flat" cmpd="sng" algn="ctr">
            <a:solidFill>
              <a:srgbClr val="00206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37" name="CuadroTexto 6">
            <a:extLst>
              <a:ext uri="{FF2B5EF4-FFF2-40B4-BE49-F238E27FC236}">
                <a16:creationId xmlns:a16="http://schemas.microsoft.com/office/drawing/2014/main" id="{659C98A4-C298-9F52-9B4F-D459FD6DE8F3}"/>
              </a:ext>
            </a:extLst>
          </p:cNvPr>
          <p:cNvSpPr txBox="1"/>
          <p:nvPr/>
        </p:nvSpPr>
        <p:spPr>
          <a:xfrm>
            <a:off x="3409601" y="4877409"/>
            <a:ext cx="900954" cy="3454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95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1600" b="1" dirty="0">
                <a:solidFill>
                  <a:srgbClr val="004A8F">
                    <a:lumMod val="75000"/>
                  </a:srgbClr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ODBC</a:t>
            </a:r>
            <a:endParaRPr lang="es-PE" sz="1400" b="1" dirty="0">
              <a:solidFill>
                <a:srgbClr val="004A8F">
                  <a:lumMod val="75000"/>
                </a:srgbClr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</p:txBody>
      </p:sp>
      <p:sp>
        <p:nvSpPr>
          <p:cNvPr id="38" name="Diagrama de flujo: disco magnético 113">
            <a:extLst>
              <a:ext uri="{FF2B5EF4-FFF2-40B4-BE49-F238E27FC236}">
                <a16:creationId xmlns:a16="http://schemas.microsoft.com/office/drawing/2014/main" id="{49E63FE7-3A50-57F3-FC9B-81A147F590E1}"/>
              </a:ext>
            </a:extLst>
          </p:cNvPr>
          <p:cNvSpPr/>
          <p:nvPr/>
        </p:nvSpPr>
        <p:spPr>
          <a:xfrm>
            <a:off x="9287891" y="3757286"/>
            <a:ext cx="1948994" cy="965439"/>
          </a:xfrm>
          <a:prstGeom prst="flowChartMagneticDisk">
            <a:avLst/>
          </a:prstGeom>
          <a:solidFill>
            <a:srgbClr val="004A8F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329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3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       DATALAKE</a:t>
            </a:r>
          </a:p>
        </p:txBody>
      </p:sp>
      <p:pic>
        <p:nvPicPr>
          <p:cNvPr id="39" name="Picture 8" descr="Hadoop HDFS – Deep Dive Tech Blog">
            <a:extLst>
              <a:ext uri="{FF2B5EF4-FFF2-40B4-BE49-F238E27FC236}">
                <a16:creationId xmlns:a16="http://schemas.microsoft.com/office/drawing/2014/main" id="{CBD09701-80F7-2BC3-BCAB-EB6EDBC389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8" t="18767" r="22737" b="33839"/>
          <a:stretch/>
        </p:blipFill>
        <p:spPr bwMode="auto">
          <a:xfrm>
            <a:off x="9961977" y="4365694"/>
            <a:ext cx="886304" cy="329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ctangle 79">
            <a:extLst>
              <a:ext uri="{FF2B5EF4-FFF2-40B4-BE49-F238E27FC236}">
                <a16:creationId xmlns:a16="http://schemas.microsoft.com/office/drawing/2014/main" id="{39DAC5D0-B924-EEA6-DA75-13CDC3ECA86B}"/>
              </a:ext>
            </a:extLst>
          </p:cNvPr>
          <p:cNvSpPr>
            <a:spLocks/>
          </p:cNvSpPr>
          <p:nvPr/>
        </p:nvSpPr>
        <p:spPr>
          <a:xfrm>
            <a:off x="9404720" y="4169800"/>
            <a:ext cx="295902" cy="315641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lIns="26770" rIns="26770" rtlCol="0" anchor="ctr">
            <a:noAutofit/>
          </a:bodyPr>
          <a:lstStyle/>
          <a:p>
            <a:pPr marL="0" marR="0" lvl="0" indent="0" algn="ctr" defTabSz="8923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1" b="1" i="0" u="none" strike="noStrike" kern="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DV</a:t>
            </a:r>
            <a:endParaRPr kumimoji="0" lang="en-US" sz="781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1" name="Picture 2" descr="IBM Data Stage">
            <a:extLst>
              <a:ext uri="{FF2B5EF4-FFF2-40B4-BE49-F238E27FC236}">
                <a16:creationId xmlns:a16="http://schemas.microsoft.com/office/drawing/2014/main" id="{AA552FF8-8BF8-F5A3-9F28-677C5D89B2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7434" y="4451934"/>
            <a:ext cx="2381215" cy="838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Imagen 41">
            <a:extLst>
              <a:ext uri="{FF2B5EF4-FFF2-40B4-BE49-F238E27FC236}">
                <a16:creationId xmlns:a16="http://schemas.microsoft.com/office/drawing/2014/main" id="{C185ACF5-857A-02B3-8363-CC6C46BB0DF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3985" r="24588" b="34008"/>
          <a:stretch/>
        </p:blipFill>
        <p:spPr>
          <a:xfrm>
            <a:off x="3546559" y="4090510"/>
            <a:ext cx="620189" cy="722848"/>
          </a:xfrm>
          <a:prstGeom prst="rect">
            <a:avLst/>
          </a:prstGeom>
        </p:spPr>
      </p:pic>
      <p:cxnSp>
        <p:nvCxnSpPr>
          <p:cNvPr id="44" name="Conector: angular 43">
            <a:extLst>
              <a:ext uri="{FF2B5EF4-FFF2-40B4-BE49-F238E27FC236}">
                <a16:creationId xmlns:a16="http://schemas.microsoft.com/office/drawing/2014/main" id="{2E34524A-416A-FBDC-A57E-723FF7C92706}"/>
              </a:ext>
            </a:extLst>
          </p:cNvPr>
          <p:cNvCxnSpPr>
            <a:cxnSpLocks/>
            <a:stCxn id="41" idx="3"/>
            <a:endCxn id="47" idx="2"/>
          </p:cNvCxnSpPr>
          <p:nvPr/>
        </p:nvCxnSpPr>
        <p:spPr>
          <a:xfrm>
            <a:off x="7528649" y="4871028"/>
            <a:ext cx="1834717" cy="956308"/>
          </a:xfrm>
          <a:prstGeom prst="bentConnector3">
            <a:avLst/>
          </a:prstGeom>
          <a:noFill/>
          <a:ln w="38100" cap="flat" cmpd="sng" algn="ctr">
            <a:solidFill>
              <a:srgbClr val="002060"/>
            </a:solidFill>
            <a:prstDash val="solid"/>
            <a:tailEnd type="triangle"/>
          </a:ln>
          <a:effectLst/>
        </p:spPr>
      </p:cxnSp>
      <p:sp>
        <p:nvSpPr>
          <p:cNvPr id="45" name="CuadroTexto 44">
            <a:extLst>
              <a:ext uri="{FF2B5EF4-FFF2-40B4-BE49-F238E27FC236}">
                <a16:creationId xmlns:a16="http://schemas.microsoft.com/office/drawing/2014/main" id="{BF0C7A60-E18D-9008-EA2D-6BD50A4A05A5}"/>
              </a:ext>
            </a:extLst>
          </p:cNvPr>
          <p:cNvSpPr txBox="1"/>
          <p:nvPr/>
        </p:nvSpPr>
        <p:spPr>
          <a:xfrm>
            <a:off x="5003937" y="4001327"/>
            <a:ext cx="29533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 algn="ctr" defTabSz="932958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rgbClr val="004A8F">
                    <a:lumMod val="75000"/>
                  </a:srgbClr>
                </a:solidFill>
                <a:latin typeface="Arial Rounded MT Bold" panose="020F07040305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3295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4A8F">
                    <a:lumMod val="75000"/>
                  </a:srgbClr>
                </a:solidFill>
                <a:effectLst/>
                <a:uLnTx/>
                <a:uFillTx/>
                <a:latin typeface="Arial Rounded MT Bold" panose="020F0704030504030204" pitchFamily="34" charset="0"/>
                <a:cs typeface="Arial" panose="020B0604020202020204" pitchFamily="34" charset="0"/>
              </a:rPr>
              <a:t>PRC_EjecutaJobs_LHCL.ksh</a:t>
            </a:r>
            <a:endParaRPr kumimoji="0" lang="es-PE" sz="1400" b="0" i="0" u="none" strike="noStrike" kern="0" cap="none" spc="0" normalizeH="0" baseline="0" noProof="0" dirty="0">
              <a:ln>
                <a:noFill/>
              </a:ln>
              <a:solidFill>
                <a:srgbClr val="004A8F">
                  <a:lumMod val="75000"/>
                </a:srgbClr>
              </a:solidFill>
              <a:effectLst/>
              <a:uLnTx/>
              <a:uFillTx/>
              <a:latin typeface="Arial Rounded MT Bold" panose="020F0704030504030204" pitchFamily="34" charset="0"/>
              <a:cs typeface="Arial" panose="020B0604020202020204" pitchFamily="34" charset="0"/>
            </a:endParaRPr>
          </a:p>
        </p:txBody>
      </p:sp>
      <p:sp>
        <p:nvSpPr>
          <p:cNvPr id="47" name="Diagrama de flujo: disco magnético 113">
            <a:extLst>
              <a:ext uri="{FF2B5EF4-FFF2-40B4-BE49-F238E27FC236}">
                <a16:creationId xmlns:a16="http://schemas.microsoft.com/office/drawing/2014/main" id="{140A3644-D81B-D511-BCDA-36B4846E13C2}"/>
              </a:ext>
            </a:extLst>
          </p:cNvPr>
          <p:cNvSpPr/>
          <p:nvPr/>
        </p:nvSpPr>
        <p:spPr>
          <a:xfrm>
            <a:off x="9363366" y="5399200"/>
            <a:ext cx="1948994" cy="856271"/>
          </a:xfrm>
          <a:prstGeom prst="flowChartMagneticDisk">
            <a:avLst/>
          </a:prstGeom>
          <a:solidFill>
            <a:srgbClr val="004A8F">
              <a:lumMod val="60000"/>
              <a:lumOff val="40000"/>
            </a:srgbClr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329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3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LHCL</a:t>
            </a:r>
          </a:p>
        </p:txBody>
      </p:sp>
      <p:sp>
        <p:nvSpPr>
          <p:cNvPr id="48" name="Rectangle 79">
            <a:extLst>
              <a:ext uri="{FF2B5EF4-FFF2-40B4-BE49-F238E27FC236}">
                <a16:creationId xmlns:a16="http://schemas.microsoft.com/office/drawing/2014/main" id="{A254DCDA-A51C-5A91-551E-84C8E1C5A411}"/>
              </a:ext>
            </a:extLst>
          </p:cNvPr>
          <p:cNvSpPr>
            <a:spLocks/>
          </p:cNvSpPr>
          <p:nvPr/>
        </p:nvSpPr>
        <p:spPr>
          <a:xfrm>
            <a:off x="9444733" y="5807271"/>
            <a:ext cx="295902" cy="315641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lIns="26770" rIns="26770" rtlCol="0" anchor="ctr">
            <a:noAutofit/>
          </a:bodyPr>
          <a:lstStyle/>
          <a:p>
            <a:pPr marL="0" marR="0" lvl="0" indent="0" algn="ctr" defTabSz="89235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1" b="1" i="0" u="none" strike="noStrike" kern="0" cap="none" spc="0" normalizeH="0" baseline="0" noProof="0" dirty="0">
                <a:ln>
                  <a:noFill/>
                </a:ln>
                <a:solidFill>
                  <a:srgbClr val="004A8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DV</a:t>
            </a:r>
            <a:endParaRPr kumimoji="0" lang="en-US" sz="781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BAF7620D-66FB-3081-C296-7E7AC67F618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742" y="3888754"/>
            <a:ext cx="1485178" cy="1839440"/>
          </a:xfrm>
          <a:prstGeom prst="rect">
            <a:avLst/>
          </a:prstGeom>
        </p:spPr>
      </p:pic>
      <p:sp>
        <p:nvSpPr>
          <p:cNvPr id="50" name="Rectángulo redondeado 10">
            <a:extLst>
              <a:ext uri="{FF2B5EF4-FFF2-40B4-BE49-F238E27FC236}">
                <a16:creationId xmlns:a16="http://schemas.microsoft.com/office/drawing/2014/main" id="{3F8FDD60-5338-8DDE-F245-E6789847E985}"/>
              </a:ext>
            </a:extLst>
          </p:cNvPr>
          <p:cNvSpPr/>
          <p:nvPr/>
        </p:nvSpPr>
        <p:spPr>
          <a:xfrm>
            <a:off x="1168496" y="4134631"/>
            <a:ext cx="1485178" cy="942728"/>
          </a:xfrm>
          <a:prstGeom prst="roundRect">
            <a:avLst>
              <a:gd name="adj" fmla="val 8090"/>
            </a:avLst>
          </a:prstGeom>
          <a:solidFill>
            <a:srgbClr val="004A8F">
              <a:lumMod val="75000"/>
            </a:srgbClr>
          </a:solidFill>
          <a:ln w="25400" cap="flat" cmpd="sng" algn="ctr">
            <a:solidFill>
              <a:srgbClr val="CCCCCC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3295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CuadroTexto 9">
            <a:extLst>
              <a:ext uri="{FF2B5EF4-FFF2-40B4-BE49-F238E27FC236}">
                <a16:creationId xmlns:a16="http://schemas.microsoft.com/office/drawing/2014/main" id="{D1EB5B61-457E-2F95-ADD7-B823FBC2AAAD}"/>
              </a:ext>
            </a:extLst>
          </p:cNvPr>
          <p:cNvSpPr txBox="1"/>
          <p:nvPr/>
        </p:nvSpPr>
        <p:spPr>
          <a:xfrm>
            <a:off x="1186719" y="4265819"/>
            <a:ext cx="1424910" cy="596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95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haroni" panose="02010803020104030203" pitchFamily="2" charset="-79"/>
                <a:cs typeface="Aharoni" panose="02010803020104030203" pitchFamily="2" charset="-79"/>
              </a:rPr>
              <a:t>CLASSIC FEDERATION</a:t>
            </a:r>
          </a:p>
        </p:txBody>
      </p:sp>
      <p:pic>
        <p:nvPicPr>
          <p:cNvPr id="52" name="Imagen 51">
            <a:extLst>
              <a:ext uri="{FF2B5EF4-FFF2-40B4-BE49-F238E27FC236}">
                <a16:creationId xmlns:a16="http://schemas.microsoft.com/office/drawing/2014/main" id="{FCC6E178-F95E-5CFC-A477-62206BBF847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rgbClr val="CCCCCC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1854137" y="4847231"/>
            <a:ext cx="581279" cy="581279"/>
          </a:xfrm>
          <a:prstGeom prst="rect">
            <a:avLst/>
          </a:prstGeom>
        </p:spPr>
      </p:pic>
      <p:pic>
        <p:nvPicPr>
          <p:cNvPr id="53" name="Picture 4" descr="India becomes key development, innovation hub for CA Technologies - The Week">
            <a:extLst>
              <a:ext uri="{FF2B5EF4-FFF2-40B4-BE49-F238E27FC236}">
                <a16:creationId xmlns:a16="http://schemas.microsoft.com/office/drawing/2014/main" id="{B1A2BCC8-C25F-B160-1A0D-B27FB4E9A1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772" y="2137372"/>
            <a:ext cx="1404792" cy="818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ítulo 1">
            <a:extLst>
              <a:ext uri="{FF2B5EF4-FFF2-40B4-BE49-F238E27FC236}">
                <a16:creationId xmlns:a16="http://schemas.microsoft.com/office/drawing/2014/main" id="{8519D763-0DAA-6F21-B8C8-4D587C8163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43" y="419380"/>
            <a:ext cx="11537600" cy="577799"/>
          </a:xfrm>
        </p:spPr>
        <p:txBody>
          <a:bodyPr/>
          <a:lstStyle/>
          <a:p>
            <a:r>
              <a:rPr lang="es-PE" sz="2400" b="1" kern="1200" dirty="0">
                <a:solidFill>
                  <a:srgbClr val="002060"/>
                </a:solidFill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CONFIGURACIÓN DE PARAMETROS PARA EJECUCIÓN DE PROCESOS DATASTAGE DISEÑO </a:t>
            </a:r>
            <a:r>
              <a:rPr lang="es-PE" sz="3600" b="1" kern="1200" dirty="0">
                <a:solidFill>
                  <a:srgbClr val="002060"/>
                </a:solidFill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1 </a:t>
            </a:r>
            <a:r>
              <a:rPr lang="es-PE" sz="2400" b="1" kern="1200" dirty="0">
                <a:solidFill>
                  <a:srgbClr val="002060"/>
                </a:solidFill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DESDE CLOUD</a:t>
            </a:r>
          </a:p>
        </p:txBody>
      </p:sp>
      <p:pic>
        <p:nvPicPr>
          <p:cNvPr id="55" name="Imagen 54">
            <a:extLst>
              <a:ext uri="{FF2B5EF4-FFF2-40B4-BE49-F238E27FC236}">
                <a16:creationId xmlns:a16="http://schemas.microsoft.com/office/drawing/2014/main" id="{D79BB5D5-EC2F-2D7F-5CEE-CAFE230E549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87891" y="1648554"/>
            <a:ext cx="2539748" cy="731170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56" name="Imagen 55">
            <a:extLst>
              <a:ext uri="{FF2B5EF4-FFF2-40B4-BE49-F238E27FC236}">
                <a16:creationId xmlns:a16="http://schemas.microsoft.com/office/drawing/2014/main" id="{AA1873CA-532E-2398-9D31-163A6C5ADC7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4257" y="1281843"/>
            <a:ext cx="319782" cy="319782"/>
          </a:xfrm>
          <a:prstGeom prst="rect">
            <a:avLst/>
          </a:prstGeom>
        </p:spPr>
      </p:pic>
      <p:sp>
        <p:nvSpPr>
          <p:cNvPr id="57" name="CuadroTexto 56">
            <a:extLst>
              <a:ext uri="{FF2B5EF4-FFF2-40B4-BE49-F238E27FC236}">
                <a16:creationId xmlns:a16="http://schemas.microsoft.com/office/drawing/2014/main" id="{A1BC04AF-697E-1A85-0B60-3436A4006C8A}"/>
              </a:ext>
            </a:extLst>
          </p:cNvPr>
          <p:cNvSpPr txBox="1"/>
          <p:nvPr/>
        </p:nvSpPr>
        <p:spPr>
          <a:xfrm>
            <a:off x="9176834" y="1025414"/>
            <a:ext cx="821554" cy="274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74405">
              <a:defRPr/>
            </a:pPr>
            <a:r>
              <a:rPr lang="es-PE" sz="1186" dirty="0">
                <a:solidFill>
                  <a:srgbClr val="C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ORACLE</a:t>
            </a:r>
          </a:p>
        </p:txBody>
      </p:sp>
      <p:pic>
        <p:nvPicPr>
          <p:cNvPr id="58" name="Imagen 57">
            <a:extLst>
              <a:ext uri="{FF2B5EF4-FFF2-40B4-BE49-F238E27FC236}">
                <a16:creationId xmlns:a16="http://schemas.microsoft.com/office/drawing/2014/main" id="{FA2FE941-67D4-9964-E03B-DD04CF3EBEA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47080" y="3724669"/>
            <a:ext cx="467028" cy="360000"/>
          </a:xfrm>
          <a:prstGeom prst="rect">
            <a:avLst/>
          </a:prstGeom>
        </p:spPr>
      </p:pic>
      <p:sp>
        <p:nvSpPr>
          <p:cNvPr id="59" name="CuadroTexto 58">
            <a:extLst>
              <a:ext uri="{FF2B5EF4-FFF2-40B4-BE49-F238E27FC236}">
                <a16:creationId xmlns:a16="http://schemas.microsoft.com/office/drawing/2014/main" id="{90283E4D-2E31-57D0-DCF6-90FFFB266C3B}"/>
              </a:ext>
            </a:extLst>
          </p:cNvPr>
          <p:cNvSpPr txBox="1"/>
          <p:nvPr/>
        </p:nvSpPr>
        <p:spPr>
          <a:xfrm>
            <a:off x="5337873" y="3755056"/>
            <a:ext cx="98122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hell LHCL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pic>
        <p:nvPicPr>
          <p:cNvPr id="60" name="Imagen 59">
            <a:extLst>
              <a:ext uri="{FF2B5EF4-FFF2-40B4-BE49-F238E27FC236}">
                <a16:creationId xmlns:a16="http://schemas.microsoft.com/office/drawing/2014/main" id="{178150A0-F963-9FA9-8C3D-4EE0D30D036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97020" y="2873207"/>
            <a:ext cx="467028" cy="360000"/>
          </a:xfrm>
          <a:prstGeom prst="rect">
            <a:avLst/>
          </a:prstGeom>
        </p:spPr>
      </p:pic>
      <p:sp>
        <p:nvSpPr>
          <p:cNvPr id="61" name="CuadroTexto 60">
            <a:extLst>
              <a:ext uri="{FF2B5EF4-FFF2-40B4-BE49-F238E27FC236}">
                <a16:creationId xmlns:a16="http://schemas.microsoft.com/office/drawing/2014/main" id="{6EDC3112-0378-7CFE-3B51-E35D85249F3F}"/>
              </a:ext>
            </a:extLst>
          </p:cNvPr>
          <p:cNvSpPr txBox="1"/>
          <p:nvPr/>
        </p:nvSpPr>
        <p:spPr>
          <a:xfrm>
            <a:off x="5208277" y="2959604"/>
            <a:ext cx="120420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hell Switch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sp>
        <p:nvSpPr>
          <p:cNvPr id="63" name="CuadroTexto 6">
            <a:extLst>
              <a:ext uri="{FF2B5EF4-FFF2-40B4-BE49-F238E27FC236}">
                <a16:creationId xmlns:a16="http://schemas.microsoft.com/office/drawing/2014/main" id="{76287FD0-5CAB-936D-1001-346C5D7B739B}"/>
              </a:ext>
            </a:extLst>
          </p:cNvPr>
          <p:cNvSpPr txBox="1"/>
          <p:nvPr/>
        </p:nvSpPr>
        <p:spPr>
          <a:xfrm>
            <a:off x="5059633" y="3185689"/>
            <a:ext cx="29533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95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1400" dirty="0" err="1">
                <a:solidFill>
                  <a:srgbClr val="004A8F">
                    <a:lumMod val="75000"/>
                  </a:srgbClr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PRC_EjecutaJobs_Switch.ksh</a:t>
            </a:r>
            <a:endParaRPr lang="es-PE" sz="1400" dirty="0">
              <a:solidFill>
                <a:srgbClr val="004A8F">
                  <a:lumMod val="75000"/>
                </a:srgbClr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Conector: angular 69">
            <a:extLst>
              <a:ext uri="{FF2B5EF4-FFF2-40B4-BE49-F238E27FC236}">
                <a16:creationId xmlns:a16="http://schemas.microsoft.com/office/drawing/2014/main" id="{5EFAEF18-C724-09CF-872A-468AA2274530}"/>
              </a:ext>
            </a:extLst>
          </p:cNvPr>
          <p:cNvCxnSpPr>
            <a:stCxn id="60" idx="3"/>
            <a:endCxn id="55" idx="1"/>
          </p:cNvCxnSpPr>
          <p:nvPr/>
        </p:nvCxnSpPr>
        <p:spPr>
          <a:xfrm flipV="1">
            <a:off x="6664048" y="2014139"/>
            <a:ext cx="2623843" cy="1039068"/>
          </a:xfrm>
          <a:prstGeom prst="bentConnector3">
            <a:avLst>
              <a:gd name="adj1" fmla="val 64936"/>
            </a:avLst>
          </a:prstGeom>
          <a:noFill/>
          <a:ln w="38100" cap="flat" cmpd="sng" algn="ctr">
            <a:solidFill>
              <a:srgbClr val="002060"/>
            </a:solidFill>
            <a:prstDash val="solid"/>
            <a:headEnd type="none"/>
            <a:tailEnd type="triangle"/>
          </a:ln>
          <a:effectLst/>
        </p:spPr>
      </p:cxnSp>
      <p:cxnSp>
        <p:nvCxnSpPr>
          <p:cNvPr id="77" name="Conector recto de flecha 76">
            <a:extLst>
              <a:ext uri="{FF2B5EF4-FFF2-40B4-BE49-F238E27FC236}">
                <a16:creationId xmlns:a16="http://schemas.microsoft.com/office/drawing/2014/main" id="{BD35A72B-B3FF-1555-A319-403B0B8F28CE}"/>
              </a:ext>
            </a:extLst>
          </p:cNvPr>
          <p:cNvCxnSpPr>
            <a:cxnSpLocks/>
          </p:cNvCxnSpPr>
          <p:nvPr/>
        </p:nvCxnSpPr>
        <p:spPr>
          <a:xfrm>
            <a:off x="6433179" y="3466451"/>
            <a:ext cx="0" cy="252000"/>
          </a:xfrm>
          <a:prstGeom prst="straightConnector1">
            <a:avLst/>
          </a:prstGeom>
          <a:noFill/>
          <a:ln w="38100" cap="flat" cmpd="sng" algn="ctr">
            <a:solidFill>
              <a:srgbClr val="002060"/>
            </a:solidFill>
            <a:prstDash val="solid"/>
            <a:headEnd type="none"/>
            <a:tailEnd type="triangle"/>
          </a:ln>
          <a:effectLst/>
        </p:spPr>
      </p:cxnSp>
      <p:cxnSp>
        <p:nvCxnSpPr>
          <p:cNvPr id="78" name="Conector recto de flecha 77">
            <a:extLst>
              <a:ext uri="{FF2B5EF4-FFF2-40B4-BE49-F238E27FC236}">
                <a16:creationId xmlns:a16="http://schemas.microsoft.com/office/drawing/2014/main" id="{9C6C514A-369C-E317-A383-6ACC6810A2E1}"/>
              </a:ext>
            </a:extLst>
          </p:cNvPr>
          <p:cNvCxnSpPr>
            <a:cxnSpLocks/>
          </p:cNvCxnSpPr>
          <p:nvPr/>
        </p:nvCxnSpPr>
        <p:spPr>
          <a:xfrm>
            <a:off x="6430534" y="2544530"/>
            <a:ext cx="0" cy="360000"/>
          </a:xfrm>
          <a:prstGeom prst="straightConnector1">
            <a:avLst/>
          </a:prstGeom>
          <a:noFill/>
          <a:ln w="38100" cap="flat" cmpd="sng" algn="ctr">
            <a:solidFill>
              <a:srgbClr val="00206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81" name="CuadroTexto 80">
            <a:extLst>
              <a:ext uri="{FF2B5EF4-FFF2-40B4-BE49-F238E27FC236}">
                <a16:creationId xmlns:a16="http://schemas.microsoft.com/office/drawing/2014/main" id="{BA24D565-D9A4-4A4B-5D09-2EC19727B779}"/>
              </a:ext>
            </a:extLst>
          </p:cNvPr>
          <p:cNvSpPr txBox="1"/>
          <p:nvPr/>
        </p:nvSpPr>
        <p:spPr>
          <a:xfrm>
            <a:off x="9467222" y="1318623"/>
            <a:ext cx="23812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PE" sz="1000" dirty="0"/>
              <a:t>CT_PARAMETROPROCESOCARGA_LHCL</a:t>
            </a:r>
          </a:p>
        </p:txBody>
      </p:sp>
      <p:sp>
        <p:nvSpPr>
          <p:cNvPr id="84" name="CuadroTexto 83">
            <a:extLst>
              <a:ext uri="{FF2B5EF4-FFF2-40B4-BE49-F238E27FC236}">
                <a16:creationId xmlns:a16="http://schemas.microsoft.com/office/drawing/2014/main" id="{E583839A-95B1-F7BE-A306-DBC9D32C46C8}"/>
              </a:ext>
            </a:extLst>
          </p:cNvPr>
          <p:cNvSpPr txBox="1"/>
          <p:nvPr/>
        </p:nvSpPr>
        <p:spPr>
          <a:xfrm>
            <a:off x="9322492" y="6246992"/>
            <a:ext cx="26926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000" dirty="0">
                <a:highlight>
                  <a:srgbClr val="FFFF00"/>
                </a:highlight>
              </a:rPr>
              <a:t>Monitoreo de ejecución de procesos </a:t>
            </a:r>
            <a:r>
              <a:rPr lang="es-PE" sz="1000" dirty="0" err="1">
                <a:highlight>
                  <a:srgbClr val="FFFF00"/>
                </a:highlight>
              </a:rPr>
              <a:t>dstg</a:t>
            </a:r>
            <a:r>
              <a:rPr lang="es-PE" sz="1000" dirty="0">
                <a:highlight>
                  <a:srgbClr val="FFFF00"/>
                </a:highlight>
              </a:rPr>
              <a:t> </a:t>
            </a:r>
          </a:p>
          <a:p>
            <a:r>
              <a:rPr lang="es-PE" sz="1000" b="1" dirty="0">
                <a:highlight>
                  <a:srgbClr val="FFFF00"/>
                </a:highlight>
              </a:rPr>
              <a:t>ADMIN.CT_EJECUCIONPROCESOCARGA_LHCL</a:t>
            </a:r>
          </a:p>
        </p:txBody>
      </p:sp>
      <p:pic>
        <p:nvPicPr>
          <p:cNvPr id="88" name="Imagen 87">
            <a:extLst>
              <a:ext uri="{FF2B5EF4-FFF2-40B4-BE49-F238E27FC236}">
                <a16:creationId xmlns:a16="http://schemas.microsoft.com/office/drawing/2014/main" id="{FDB4580D-BD3C-41FA-E92B-182AB6DDDF8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90644" y="6320695"/>
            <a:ext cx="393504" cy="326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7728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82B9B47F-DA37-01C7-FF90-F332A6897862}"/>
              </a:ext>
            </a:extLst>
          </p:cNvPr>
          <p:cNvCxnSpPr>
            <a:cxnSpLocks/>
          </p:cNvCxnSpPr>
          <p:nvPr/>
        </p:nvCxnSpPr>
        <p:spPr>
          <a:xfrm flipV="1">
            <a:off x="6552987" y="3337775"/>
            <a:ext cx="0" cy="339642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EAFDE045-00A3-8C4B-0CBA-1C333913BC69}"/>
              </a:ext>
            </a:extLst>
          </p:cNvPr>
          <p:cNvCxnSpPr>
            <a:cxnSpLocks/>
          </p:cNvCxnSpPr>
          <p:nvPr/>
        </p:nvCxnSpPr>
        <p:spPr>
          <a:xfrm>
            <a:off x="2860458" y="3354139"/>
            <a:ext cx="0" cy="331811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ector recto 76">
            <a:extLst>
              <a:ext uri="{FF2B5EF4-FFF2-40B4-BE49-F238E27FC236}">
                <a16:creationId xmlns:a16="http://schemas.microsoft.com/office/drawing/2014/main" id="{4C9C6034-2B33-480C-8A57-8AE05DE54578}"/>
              </a:ext>
            </a:extLst>
          </p:cNvPr>
          <p:cNvCxnSpPr>
            <a:cxnSpLocks/>
            <a:endCxn id="71" idx="0"/>
          </p:cNvCxnSpPr>
          <p:nvPr/>
        </p:nvCxnSpPr>
        <p:spPr>
          <a:xfrm flipH="1">
            <a:off x="1193779" y="3429000"/>
            <a:ext cx="9294" cy="255810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D1B1702A-EB98-0B13-B6F0-88D6C0CA3FCD}"/>
              </a:ext>
            </a:extLst>
          </p:cNvPr>
          <p:cNvCxnSpPr>
            <a:cxnSpLocks/>
          </p:cNvCxnSpPr>
          <p:nvPr/>
        </p:nvCxnSpPr>
        <p:spPr>
          <a:xfrm flipV="1">
            <a:off x="8507636" y="3463999"/>
            <a:ext cx="0" cy="220811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D90CCB89-C72D-49FA-16F2-34BF5F2ABD3D}"/>
              </a:ext>
            </a:extLst>
          </p:cNvPr>
          <p:cNvCxnSpPr>
            <a:cxnSpLocks/>
          </p:cNvCxnSpPr>
          <p:nvPr/>
        </p:nvCxnSpPr>
        <p:spPr>
          <a:xfrm flipV="1">
            <a:off x="4528003" y="3330625"/>
            <a:ext cx="0" cy="339642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Freeform 5">
            <a:extLst>
              <a:ext uri="{FF2B5EF4-FFF2-40B4-BE49-F238E27FC236}">
                <a16:creationId xmlns:a16="http://schemas.microsoft.com/office/drawing/2014/main" id="{7D7C1440-1596-BD8E-6EBE-A95E9EDA616A}"/>
              </a:ext>
            </a:extLst>
          </p:cNvPr>
          <p:cNvSpPr/>
          <p:nvPr/>
        </p:nvSpPr>
        <p:spPr>
          <a:xfrm>
            <a:off x="225977" y="5229204"/>
            <a:ext cx="2047764" cy="1398614"/>
          </a:xfrm>
          <a:custGeom>
            <a:avLst/>
            <a:gdLst/>
            <a:ahLst/>
            <a:cxnLst/>
            <a:rect l="l" t="t" r="r" b="b"/>
            <a:pathLst>
              <a:path w="753347" h="875338">
                <a:moveTo>
                  <a:pt x="753347" y="0"/>
                </a:moveTo>
                <a:lnTo>
                  <a:pt x="753347" y="761038"/>
                </a:lnTo>
                <a:lnTo>
                  <a:pt x="376673" y="875338"/>
                </a:lnTo>
                <a:lnTo>
                  <a:pt x="0" y="761038"/>
                </a:lnTo>
                <a:lnTo>
                  <a:pt x="0" y="0"/>
                </a:lnTo>
                <a:lnTo>
                  <a:pt x="753347" y="0"/>
                </a:lnTo>
                <a:close/>
              </a:path>
            </a:pathLst>
          </a:custGeom>
          <a:solidFill>
            <a:srgbClr val="FFFFCC"/>
          </a:solidFill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Los </a:t>
            </a:r>
            <a:r>
              <a:rPr kumimoji="0" lang="es-PE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DMLs</a:t>
            </a:r>
            <a:r>
              <a:rPr kumimoji="0" lang="es-P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 para switch y reversión son ejecutados en la tabla ADMIN.CT_PARAMETROPROCESOCARGA_LHCL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22BB8B67-1221-8448-40CC-3BC9E276D3A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1" b="4440"/>
          <a:stretch/>
        </p:blipFill>
        <p:spPr>
          <a:xfrm>
            <a:off x="425779" y="1995999"/>
            <a:ext cx="1676470" cy="1537883"/>
          </a:xfrm>
          <a:prstGeom prst="rect">
            <a:avLst/>
          </a:prstGeom>
        </p:spPr>
      </p:pic>
      <p:sp>
        <p:nvSpPr>
          <p:cNvPr id="29" name="Rectángulo 28">
            <a:extLst>
              <a:ext uri="{FF2B5EF4-FFF2-40B4-BE49-F238E27FC236}">
                <a16:creationId xmlns:a16="http://schemas.microsoft.com/office/drawing/2014/main" id="{3A76C72B-B3B2-49FD-8A73-E255A4BF5AF0}"/>
              </a:ext>
            </a:extLst>
          </p:cNvPr>
          <p:cNvSpPr/>
          <p:nvPr/>
        </p:nvSpPr>
        <p:spPr>
          <a:xfrm>
            <a:off x="2364135" y="2230120"/>
            <a:ext cx="1404071" cy="2433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  <a:defRPr/>
            </a:pP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- Ejecución en rutina</a:t>
            </a:r>
            <a:endParaRPr lang="es-PE" sz="950" b="1" dirty="0">
              <a:solidFill>
                <a:prstClr val="white"/>
              </a:solidFill>
              <a:latin typeface="Flexo"/>
              <a:cs typeface="Flexo"/>
            </a:endParaRPr>
          </a:p>
        </p:txBody>
      </p:sp>
      <p:sp>
        <p:nvSpPr>
          <p:cNvPr id="64" name="Title 1">
            <a:extLst>
              <a:ext uri="{FF2B5EF4-FFF2-40B4-BE49-F238E27FC236}">
                <a16:creationId xmlns:a16="http://schemas.microsoft.com/office/drawing/2014/main" id="{B451EA8A-EEB2-4395-9706-8D6A97BBFA28}"/>
              </a:ext>
            </a:extLst>
          </p:cNvPr>
          <p:cNvSpPr txBox="1">
            <a:spLocks/>
          </p:cNvSpPr>
          <p:nvPr/>
        </p:nvSpPr>
        <p:spPr bwMode="gray">
          <a:xfrm>
            <a:off x="489305" y="338688"/>
            <a:ext cx="10894150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26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609579" eaLnBrk="0" hangingPunct="0">
              <a:spcBef>
                <a:spcPct val="20000"/>
              </a:spcBef>
              <a:tabLst>
                <a:tab pos="367155" algn="l"/>
              </a:tabLst>
              <a:defRPr/>
            </a:pPr>
            <a:r>
              <a:rPr lang="es-ES" sz="2400" b="1" dirty="0">
                <a:solidFill>
                  <a:srgbClr val="002060"/>
                </a:solidFill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ESTRATEGIA DESACTIVACION DE PROCESOS ONPREMISE Y ACTIVACIÓN DE PROCESOS CLOUD MODO SINCRONO </a:t>
            </a:r>
          </a:p>
        </p:txBody>
      </p:sp>
      <p:pic>
        <p:nvPicPr>
          <p:cNvPr id="38" name="Imagen 37">
            <a:extLst>
              <a:ext uri="{FF2B5EF4-FFF2-40B4-BE49-F238E27FC236}">
                <a16:creationId xmlns:a16="http://schemas.microsoft.com/office/drawing/2014/main" id="{0DDE416E-5D34-4FBB-839F-3B63C28C747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1" b="4440"/>
          <a:stretch/>
        </p:blipFill>
        <p:spPr>
          <a:xfrm>
            <a:off x="2064677" y="2021468"/>
            <a:ext cx="1749512" cy="1500611"/>
          </a:xfrm>
          <a:prstGeom prst="rect">
            <a:avLst/>
          </a:prstGeom>
        </p:spPr>
      </p:pic>
      <p:sp>
        <p:nvSpPr>
          <p:cNvPr id="39" name="Rectángulo 38">
            <a:extLst>
              <a:ext uri="{FF2B5EF4-FFF2-40B4-BE49-F238E27FC236}">
                <a16:creationId xmlns:a16="http://schemas.microsoft.com/office/drawing/2014/main" id="{122B34C2-90BF-45CA-A051-1043FE04D072}"/>
              </a:ext>
            </a:extLst>
          </p:cNvPr>
          <p:cNvSpPr/>
          <p:nvPr/>
        </p:nvSpPr>
        <p:spPr>
          <a:xfrm>
            <a:off x="2231710" y="2542311"/>
            <a:ext cx="1404072" cy="689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  <a:defRPr/>
            </a:pP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- Ejecución </a:t>
            </a:r>
            <a:r>
              <a:rPr lang="es-MX" sz="950" b="1" dirty="0" err="1">
                <a:solidFill>
                  <a:prstClr val="white"/>
                </a:solidFill>
                <a:latin typeface="Flexo"/>
                <a:cs typeface="Flexo"/>
              </a:rPr>
              <a:t>DMLs</a:t>
            </a: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 para desactivar convivencia  (Solo Cloud síncrono)</a:t>
            </a:r>
          </a:p>
          <a:p>
            <a:pPr marL="12700" algn="ctr" defTabSz="914396">
              <a:spcBef>
                <a:spcPts val="100"/>
              </a:spcBef>
              <a:defRPr/>
            </a:pPr>
            <a:endParaRPr lang="es-PE" sz="950" b="1" dirty="0">
              <a:solidFill>
                <a:prstClr val="white"/>
              </a:solidFill>
              <a:latin typeface="Flexo"/>
              <a:cs typeface="Flexo"/>
            </a:endParaRP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1F418251-F4F5-4E67-8A57-00949C4BA745}"/>
              </a:ext>
            </a:extLst>
          </p:cNvPr>
          <p:cNvSpPr/>
          <p:nvPr/>
        </p:nvSpPr>
        <p:spPr>
          <a:xfrm>
            <a:off x="7307558" y="4902738"/>
            <a:ext cx="1404071" cy="6908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  <a:defRPr/>
            </a:pP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- Ejecución DML para activar Proceso RDV-DS y desactivar Proceso RDV-DVM</a:t>
            </a:r>
            <a:endParaRPr lang="es-PE" sz="950" b="1" dirty="0">
              <a:solidFill>
                <a:prstClr val="white"/>
              </a:solidFill>
              <a:latin typeface="Flexo"/>
              <a:cs typeface="Flexo"/>
            </a:endParaRP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id="{62620252-0EF5-4185-A09B-432C0D91BFDB}"/>
              </a:ext>
            </a:extLst>
          </p:cNvPr>
          <p:cNvSpPr/>
          <p:nvPr/>
        </p:nvSpPr>
        <p:spPr>
          <a:xfrm>
            <a:off x="8859329" y="4947073"/>
            <a:ext cx="1404071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  <a:defRPr/>
            </a:pP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- Ejecución en dinámico Proceso RDV-DS</a:t>
            </a:r>
            <a:endParaRPr lang="es-PE" sz="950" b="1" dirty="0">
              <a:solidFill>
                <a:prstClr val="white"/>
              </a:solidFill>
              <a:latin typeface="Flexo"/>
              <a:cs typeface="Flexo"/>
            </a:endParaRP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id="{B7274BEE-5755-485B-A4D3-6005AAFBA9EC}"/>
              </a:ext>
            </a:extLst>
          </p:cNvPr>
          <p:cNvSpPr/>
          <p:nvPr/>
        </p:nvSpPr>
        <p:spPr>
          <a:xfrm>
            <a:off x="9106767" y="3302547"/>
            <a:ext cx="2103962" cy="397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  <a:defRPr/>
            </a:pPr>
            <a:r>
              <a:rPr lang="es-MX" sz="950" b="1" dirty="0">
                <a:latin typeface="Flexo"/>
                <a:cs typeface="Flexo"/>
              </a:rPr>
              <a:t>¿Hay error en la ejecución</a:t>
            </a:r>
          </a:p>
          <a:p>
            <a:pPr marL="12700" algn="ctr" defTabSz="914396">
              <a:spcBef>
                <a:spcPts val="100"/>
              </a:spcBef>
              <a:defRPr/>
            </a:pPr>
            <a:r>
              <a:rPr lang="es-MX" sz="950" b="1" dirty="0">
                <a:latin typeface="Flexo"/>
                <a:cs typeface="Flexo"/>
              </a:rPr>
              <a:t> del proceso en rutina?</a:t>
            </a:r>
            <a:endParaRPr lang="es-PE" sz="950" b="1" dirty="0">
              <a:latin typeface="Flexo"/>
              <a:cs typeface="Flexo"/>
            </a:endParaRPr>
          </a:p>
        </p:txBody>
      </p:sp>
      <p:cxnSp>
        <p:nvCxnSpPr>
          <p:cNvPr id="57" name="Conector recto de flecha 56">
            <a:extLst>
              <a:ext uri="{FF2B5EF4-FFF2-40B4-BE49-F238E27FC236}">
                <a16:creationId xmlns:a16="http://schemas.microsoft.com/office/drawing/2014/main" id="{8E4E2F7D-7881-463D-90EA-21F4473ACDBC}"/>
              </a:ext>
            </a:extLst>
          </p:cNvPr>
          <p:cNvCxnSpPr>
            <a:cxnSpLocks/>
          </p:cNvCxnSpPr>
          <p:nvPr/>
        </p:nvCxnSpPr>
        <p:spPr>
          <a:xfrm flipV="1">
            <a:off x="300209" y="3744810"/>
            <a:ext cx="11769408" cy="2634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ángulo 74">
            <a:extLst>
              <a:ext uri="{FF2B5EF4-FFF2-40B4-BE49-F238E27FC236}">
                <a16:creationId xmlns:a16="http://schemas.microsoft.com/office/drawing/2014/main" id="{EF1D7C26-4E22-43AC-B2A1-C7F430EDD757}"/>
              </a:ext>
            </a:extLst>
          </p:cNvPr>
          <p:cNvSpPr/>
          <p:nvPr/>
        </p:nvSpPr>
        <p:spPr>
          <a:xfrm>
            <a:off x="8786799" y="4982143"/>
            <a:ext cx="1404071" cy="392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  <a:defRPr/>
            </a:pP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- BKP y limpieza de partición HDFS actual</a:t>
            </a:r>
            <a:endParaRPr lang="es-PE" sz="950" b="1" dirty="0">
              <a:solidFill>
                <a:prstClr val="white"/>
              </a:solidFill>
              <a:latin typeface="Flexo"/>
              <a:cs typeface="Flexo"/>
            </a:endParaRPr>
          </a:p>
        </p:txBody>
      </p:sp>
      <p:sp>
        <p:nvSpPr>
          <p:cNvPr id="95" name="Rectángulo 94">
            <a:extLst>
              <a:ext uri="{FF2B5EF4-FFF2-40B4-BE49-F238E27FC236}">
                <a16:creationId xmlns:a16="http://schemas.microsoft.com/office/drawing/2014/main" id="{78105578-22AA-475B-8302-03F0F1207C89}"/>
              </a:ext>
            </a:extLst>
          </p:cNvPr>
          <p:cNvSpPr/>
          <p:nvPr/>
        </p:nvSpPr>
        <p:spPr>
          <a:xfrm>
            <a:off x="7467646" y="3912229"/>
            <a:ext cx="382008" cy="2433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  <a:defRPr/>
            </a:pPr>
            <a:r>
              <a:rPr lang="es-MX" sz="950" b="1" dirty="0">
                <a:solidFill>
                  <a:srgbClr val="FF0000"/>
                </a:solidFill>
                <a:latin typeface="Flexo"/>
                <a:cs typeface="Flexo"/>
              </a:rPr>
              <a:t>No</a:t>
            </a:r>
            <a:endParaRPr lang="es-PE" sz="950" b="1" dirty="0">
              <a:solidFill>
                <a:srgbClr val="FF0000"/>
              </a:solidFill>
              <a:latin typeface="Flexo"/>
              <a:cs typeface="Flexo"/>
            </a:endParaRP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B47B8B5B-69C8-401A-A02A-912AC1A8B004}"/>
              </a:ext>
            </a:extLst>
          </p:cNvPr>
          <p:cNvSpPr/>
          <p:nvPr/>
        </p:nvSpPr>
        <p:spPr>
          <a:xfrm>
            <a:off x="2245159" y="1326073"/>
            <a:ext cx="1530430" cy="67197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marL="12700" defTabSz="914396">
              <a:spcBef>
                <a:spcPts val="100"/>
              </a:spcBef>
              <a:defRPr/>
            </a:pPr>
            <a:r>
              <a:rPr lang="es-PE" sz="900" dirty="0">
                <a:solidFill>
                  <a:srgbClr val="44546A"/>
                </a:solidFill>
                <a:latin typeface="Flexo"/>
                <a:cs typeface="Flexo"/>
              </a:rPr>
              <a:t>-Operaciones Data</a:t>
            </a:r>
            <a:br>
              <a:rPr lang="es-PE" sz="900" dirty="0">
                <a:solidFill>
                  <a:srgbClr val="44546A"/>
                </a:solidFill>
                <a:latin typeface="Flexo"/>
                <a:cs typeface="Flexo"/>
              </a:rPr>
            </a:br>
            <a:r>
              <a:rPr lang="es-PE" sz="900" dirty="0">
                <a:solidFill>
                  <a:srgbClr val="44546A"/>
                </a:solidFill>
                <a:latin typeface="Flexo"/>
                <a:cs typeface="Flexo"/>
              </a:rPr>
              <a:t>AIO-OPI-HBI</a:t>
            </a:r>
          </a:p>
          <a:p>
            <a:pPr marL="12700" defTabSz="914396">
              <a:spcBef>
                <a:spcPts val="100"/>
              </a:spcBef>
              <a:defRPr/>
            </a:pPr>
            <a:r>
              <a:rPr lang="es-PE" sz="900" dirty="0">
                <a:solidFill>
                  <a:srgbClr val="44546A"/>
                </a:solidFill>
                <a:latin typeface="Flexo"/>
                <a:cs typeface="Flexo"/>
              </a:rPr>
              <a:t>-Ticket: C. Express Seguridad</a:t>
            </a:r>
          </a:p>
          <a:p>
            <a:pPr marL="12700" defTabSz="914396">
              <a:spcBef>
                <a:spcPts val="100"/>
              </a:spcBef>
              <a:defRPr/>
            </a:pPr>
            <a:r>
              <a:rPr lang="es-PE" sz="900" dirty="0">
                <a:solidFill>
                  <a:srgbClr val="44546A"/>
                </a:solidFill>
                <a:latin typeface="Flexo"/>
                <a:cs typeface="Flexo"/>
              </a:rPr>
              <a:t>-</a:t>
            </a:r>
            <a:r>
              <a:rPr lang="es-PE" sz="900" dirty="0" err="1">
                <a:solidFill>
                  <a:srgbClr val="44546A"/>
                </a:solidFill>
                <a:latin typeface="Flexo"/>
                <a:cs typeface="Flexo"/>
              </a:rPr>
              <a:t>Amb</a:t>
            </a:r>
            <a:r>
              <a:rPr lang="es-PE" sz="900" dirty="0">
                <a:solidFill>
                  <a:srgbClr val="44546A"/>
                </a:solidFill>
                <a:latin typeface="Flexo"/>
                <a:cs typeface="Flexo"/>
              </a:rPr>
              <a:t>. Producción</a:t>
            </a:r>
          </a:p>
        </p:txBody>
      </p:sp>
      <p:sp>
        <p:nvSpPr>
          <p:cNvPr id="94" name="Rectángulo 93">
            <a:extLst>
              <a:ext uri="{FF2B5EF4-FFF2-40B4-BE49-F238E27FC236}">
                <a16:creationId xmlns:a16="http://schemas.microsoft.com/office/drawing/2014/main" id="{119F2972-FD36-4FAC-9565-E2731DC75C20}"/>
              </a:ext>
            </a:extLst>
          </p:cNvPr>
          <p:cNvSpPr/>
          <p:nvPr/>
        </p:nvSpPr>
        <p:spPr>
          <a:xfrm>
            <a:off x="11248204" y="3438472"/>
            <a:ext cx="1018858" cy="2433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  <a:defRPr/>
            </a:pPr>
            <a:r>
              <a:rPr lang="es-MX" sz="950" b="1" dirty="0">
                <a:solidFill>
                  <a:prstClr val="black"/>
                </a:solidFill>
                <a:latin typeface="Flexo"/>
                <a:cs typeface="Flexo"/>
              </a:rPr>
              <a:t>Finalización</a:t>
            </a:r>
            <a:endParaRPr lang="es-PE" sz="950" b="1" dirty="0">
              <a:solidFill>
                <a:prstClr val="black"/>
              </a:solidFill>
              <a:latin typeface="Flexo"/>
              <a:cs typeface="Flexo"/>
            </a:endParaRPr>
          </a:p>
        </p:txBody>
      </p:sp>
      <p:sp>
        <p:nvSpPr>
          <p:cNvPr id="104" name="Rectángulo 103">
            <a:extLst>
              <a:ext uri="{FF2B5EF4-FFF2-40B4-BE49-F238E27FC236}">
                <a16:creationId xmlns:a16="http://schemas.microsoft.com/office/drawing/2014/main" id="{0BBA240A-CDDC-483B-BBC4-78BD0610F9B3}"/>
              </a:ext>
            </a:extLst>
          </p:cNvPr>
          <p:cNvSpPr/>
          <p:nvPr/>
        </p:nvSpPr>
        <p:spPr>
          <a:xfrm>
            <a:off x="3817632" y="2158274"/>
            <a:ext cx="1493813" cy="392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  <a:defRPr/>
            </a:pP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- Sacar BKP de procesos DSTG RDV</a:t>
            </a:r>
            <a:endParaRPr lang="es-PE" sz="950" b="1" dirty="0">
              <a:solidFill>
                <a:prstClr val="white"/>
              </a:solidFill>
              <a:latin typeface="Flexo"/>
              <a:cs typeface="Flexo"/>
            </a:endParaRPr>
          </a:p>
        </p:txBody>
      </p:sp>
      <p:sp>
        <p:nvSpPr>
          <p:cNvPr id="2" name="CuadroTexto 1"/>
          <p:cNvSpPr txBox="1"/>
          <p:nvPr/>
        </p:nvSpPr>
        <p:spPr>
          <a:xfrm>
            <a:off x="2805685" y="6442873"/>
            <a:ext cx="8332708" cy="2864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24" dirty="0"/>
              <a:t>Soporte de estabilidad de Shell Genérica-</a:t>
            </a:r>
            <a:r>
              <a:rPr lang="es-ES" sz="1224" dirty="0" err="1"/>
              <a:t>Squad</a:t>
            </a:r>
            <a:r>
              <a:rPr lang="es-ES" sz="1224" dirty="0"/>
              <a:t> Plataforma Cloud</a:t>
            </a:r>
          </a:p>
        </p:txBody>
      </p:sp>
      <p:pic>
        <p:nvPicPr>
          <p:cNvPr id="71" name="Imagen 70">
            <a:extLst>
              <a:ext uri="{FF2B5EF4-FFF2-40B4-BE49-F238E27FC236}">
                <a16:creationId xmlns:a16="http://schemas.microsoft.com/office/drawing/2014/main" id="{9960C0ED-347C-4111-BE97-5FBC2F86975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952" y="3684810"/>
            <a:ext cx="201653" cy="190449"/>
          </a:xfrm>
          <a:prstGeom prst="rect">
            <a:avLst/>
          </a:prstGeom>
        </p:spPr>
      </p:pic>
      <p:pic>
        <p:nvPicPr>
          <p:cNvPr id="123" name="Imagen 122">
            <a:extLst>
              <a:ext uri="{FF2B5EF4-FFF2-40B4-BE49-F238E27FC236}">
                <a16:creationId xmlns:a16="http://schemas.microsoft.com/office/drawing/2014/main" id="{98D1795E-24F0-4684-9557-91E7A52AB0C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rgbClr val="4472C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1126" y="4490707"/>
            <a:ext cx="1583553" cy="1495578"/>
          </a:xfrm>
          <a:prstGeom prst="rect">
            <a:avLst/>
          </a:prstGeom>
        </p:spPr>
      </p:pic>
      <p:sp>
        <p:nvSpPr>
          <p:cNvPr id="126" name="Rectángulo 125">
            <a:extLst>
              <a:ext uri="{FF2B5EF4-FFF2-40B4-BE49-F238E27FC236}">
                <a16:creationId xmlns:a16="http://schemas.microsoft.com/office/drawing/2014/main" id="{DCDFD291-3055-4736-B914-EA7F1E83F682}"/>
              </a:ext>
            </a:extLst>
          </p:cNvPr>
          <p:cNvSpPr/>
          <p:nvPr/>
        </p:nvSpPr>
        <p:spPr>
          <a:xfrm>
            <a:off x="9006450" y="5091427"/>
            <a:ext cx="1404071" cy="2433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</a:pP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- Re Run</a:t>
            </a:r>
            <a:endParaRPr lang="es-PE" sz="950" b="1" dirty="0">
              <a:solidFill>
                <a:prstClr val="white"/>
              </a:solidFill>
              <a:latin typeface="Flexo"/>
              <a:cs typeface="Flexo"/>
            </a:endParaRPr>
          </a:p>
        </p:txBody>
      </p:sp>
      <p:sp>
        <p:nvSpPr>
          <p:cNvPr id="128" name="Rectángulo: esquinas redondeadas 30">
            <a:extLst>
              <a:ext uri="{FF2B5EF4-FFF2-40B4-BE49-F238E27FC236}">
                <a16:creationId xmlns:a16="http://schemas.microsoft.com/office/drawing/2014/main" id="{58C761A5-51DD-4056-B9E2-286797F87A8D}"/>
              </a:ext>
            </a:extLst>
          </p:cNvPr>
          <p:cNvSpPr/>
          <p:nvPr/>
        </p:nvSpPr>
        <p:spPr>
          <a:xfrm>
            <a:off x="6952839" y="4516501"/>
            <a:ext cx="4040881" cy="1711246"/>
          </a:xfrm>
          <a:prstGeom prst="roundRect">
            <a:avLst/>
          </a:prstGeom>
          <a:noFill/>
          <a:ln w="28575" cap="flat" cmpd="thickThin" algn="ctr">
            <a:solidFill>
              <a:sysClr val="windowText" lastClr="000000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defTabSz="466479">
              <a:defRPr/>
            </a:pPr>
            <a:endParaRPr lang="es-PE" sz="1837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1" name="Conector recto de flecha 130">
            <a:extLst>
              <a:ext uri="{FF2B5EF4-FFF2-40B4-BE49-F238E27FC236}">
                <a16:creationId xmlns:a16="http://schemas.microsoft.com/office/drawing/2014/main" id="{70078667-4919-46E4-8312-5279EC08DCD5}"/>
              </a:ext>
            </a:extLst>
          </p:cNvPr>
          <p:cNvCxnSpPr>
            <a:cxnSpLocks/>
          </p:cNvCxnSpPr>
          <p:nvPr/>
        </p:nvCxnSpPr>
        <p:spPr>
          <a:xfrm flipV="1">
            <a:off x="7214100" y="5948747"/>
            <a:ext cx="3673530" cy="37538"/>
          </a:xfrm>
          <a:prstGeom prst="straightConnector1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3" name="Conector recto 132">
            <a:extLst>
              <a:ext uri="{FF2B5EF4-FFF2-40B4-BE49-F238E27FC236}">
                <a16:creationId xmlns:a16="http://schemas.microsoft.com/office/drawing/2014/main" id="{BBB5A93B-D6F4-44C5-9A3D-728E2CBF1A19}"/>
              </a:ext>
            </a:extLst>
          </p:cNvPr>
          <p:cNvCxnSpPr>
            <a:cxnSpLocks/>
          </p:cNvCxnSpPr>
          <p:nvPr/>
        </p:nvCxnSpPr>
        <p:spPr>
          <a:xfrm>
            <a:off x="7981427" y="5826101"/>
            <a:ext cx="0" cy="401647"/>
          </a:xfrm>
          <a:prstGeom prst="line">
            <a:avLst/>
          </a:prstGeom>
          <a:noFill/>
          <a:ln w="12700" cap="flat" cmpd="sng" algn="ctr">
            <a:solidFill>
              <a:srgbClr val="4472C4"/>
            </a:solidFill>
            <a:prstDash val="sysDash"/>
            <a:miter lim="800000"/>
          </a:ln>
          <a:effectLst/>
        </p:spPr>
      </p:cxnSp>
      <p:pic>
        <p:nvPicPr>
          <p:cNvPr id="135" name="Imagen 134">
            <a:extLst>
              <a:ext uri="{FF2B5EF4-FFF2-40B4-BE49-F238E27FC236}">
                <a16:creationId xmlns:a16="http://schemas.microsoft.com/office/drawing/2014/main" id="{BDA8BCC0-7FEE-4B8C-941E-101E4C9ECA5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rgbClr val="4472C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0273" y="4525204"/>
            <a:ext cx="1583553" cy="1495578"/>
          </a:xfrm>
          <a:prstGeom prst="rect">
            <a:avLst/>
          </a:prstGeom>
        </p:spPr>
      </p:pic>
      <p:sp>
        <p:nvSpPr>
          <p:cNvPr id="136" name="Rectángulo 135">
            <a:extLst>
              <a:ext uri="{FF2B5EF4-FFF2-40B4-BE49-F238E27FC236}">
                <a16:creationId xmlns:a16="http://schemas.microsoft.com/office/drawing/2014/main" id="{982C23DA-D346-4983-9A33-6DC14E307674}"/>
              </a:ext>
            </a:extLst>
          </p:cNvPr>
          <p:cNvSpPr/>
          <p:nvPr/>
        </p:nvSpPr>
        <p:spPr>
          <a:xfrm>
            <a:off x="7402861" y="4940503"/>
            <a:ext cx="1404071" cy="8531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</a:pP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- </a:t>
            </a:r>
            <a:r>
              <a:rPr lang="es-ES" sz="950" b="1" dirty="0">
                <a:solidFill>
                  <a:prstClr val="white"/>
                </a:solidFill>
                <a:latin typeface="Flexo"/>
              </a:rPr>
              <a:t>Ejecución de DML para activar modo convivencia (LKDV+LHCL </a:t>
            </a:r>
            <a:r>
              <a:rPr lang="es-ES" sz="950" b="1" dirty="0" err="1">
                <a:solidFill>
                  <a:prstClr val="white"/>
                </a:solidFill>
                <a:latin typeface="Flexo"/>
              </a:rPr>
              <a:t>nohup</a:t>
            </a:r>
            <a:r>
              <a:rPr lang="es-ES" sz="950" b="1" dirty="0">
                <a:solidFill>
                  <a:prstClr val="white"/>
                </a:solidFill>
                <a:latin typeface="Flexo"/>
              </a:rPr>
              <a:t>)</a:t>
            </a:r>
          </a:p>
          <a:p>
            <a:pPr marL="12700" algn="ctr" defTabSz="914396">
              <a:spcBef>
                <a:spcPts val="100"/>
              </a:spcBef>
            </a:pPr>
            <a:endParaRPr lang="es-PE" sz="950" b="1" dirty="0">
              <a:solidFill>
                <a:prstClr val="white"/>
              </a:solidFill>
              <a:latin typeface="Flexo"/>
              <a:cs typeface="Flexo"/>
            </a:endParaRPr>
          </a:p>
        </p:txBody>
      </p:sp>
      <p:cxnSp>
        <p:nvCxnSpPr>
          <p:cNvPr id="137" name="Conector recto 136">
            <a:extLst>
              <a:ext uri="{FF2B5EF4-FFF2-40B4-BE49-F238E27FC236}">
                <a16:creationId xmlns:a16="http://schemas.microsoft.com/office/drawing/2014/main" id="{BBB5A93B-D6F4-44C5-9A3D-728E2CBF1A19}"/>
              </a:ext>
            </a:extLst>
          </p:cNvPr>
          <p:cNvCxnSpPr>
            <a:cxnSpLocks/>
          </p:cNvCxnSpPr>
          <p:nvPr/>
        </p:nvCxnSpPr>
        <p:spPr>
          <a:xfrm>
            <a:off x="9744722" y="5819926"/>
            <a:ext cx="0" cy="445104"/>
          </a:xfrm>
          <a:prstGeom prst="line">
            <a:avLst/>
          </a:prstGeom>
          <a:noFill/>
          <a:ln w="12700" cap="flat" cmpd="sng" algn="ctr">
            <a:solidFill>
              <a:srgbClr val="4472C4"/>
            </a:solidFill>
            <a:prstDash val="sysDash"/>
            <a:miter lim="800000"/>
          </a:ln>
          <a:effectLst/>
        </p:spPr>
      </p:cxnSp>
      <p:sp>
        <p:nvSpPr>
          <p:cNvPr id="10" name="CuadroTexto 9"/>
          <p:cNvSpPr txBox="1"/>
          <p:nvPr/>
        </p:nvSpPr>
        <p:spPr>
          <a:xfrm>
            <a:off x="3061169" y="4261522"/>
            <a:ext cx="1243173" cy="286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24" dirty="0"/>
              <a:t>VALIDACIÓN</a:t>
            </a:r>
          </a:p>
        </p:txBody>
      </p:sp>
      <p:sp>
        <p:nvSpPr>
          <p:cNvPr id="13" name="Rectángulo redondeado 12"/>
          <p:cNvSpPr/>
          <p:nvPr/>
        </p:nvSpPr>
        <p:spPr>
          <a:xfrm>
            <a:off x="2816709" y="4235294"/>
            <a:ext cx="8321683" cy="2141694"/>
          </a:xfrm>
          <a:prstGeom prst="round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37">
              <a:noFill/>
            </a:endParaRPr>
          </a:p>
        </p:txBody>
      </p:sp>
      <p:pic>
        <p:nvPicPr>
          <p:cNvPr id="65" name="Imagen 64">
            <a:extLst>
              <a:ext uri="{FF2B5EF4-FFF2-40B4-BE49-F238E27FC236}">
                <a16:creationId xmlns:a16="http://schemas.microsoft.com/office/drawing/2014/main" id="{0782B7C0-6898-4454-8C0F-38D7D576820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rgbClr val="4472C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5937" y="4551091"/>
            <a:ext cx="1515942" cy="1431723"/>
          </a:xfrm>
          <a:prstGeom prst="rect">
            <a:avLst/>
          </a:prstGeom>
        </p:spPr>
      </p:pic>
      <p:sp>
        <p:nvSpPr>
          <p:cNvPr id="67" name="Rectángulo 66">
            <a:extLst>
              <a:ext uri="{FF2B5EF4-FFF2-40B4-BE49-F238E27FC236}">
                <a16:creationId xmlns:a16="http://schemas.microsoft.com/office/drawing/2014/main" id="{01D8A473-4DE7-4C0A-91F8-E98897DBE086}"/>
              </a:ext>
            </a:extLst>
          </p:cNvPr>
          <p:cNvSpPr/>
          <p:nvPr/>
        </p:nvSpPr>
        <p:spPr>
          <a:xfrm>
            <a:off x="3111051" y="5128752"/>
            <a:ext cx="1404071" cy="2433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</a:pP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- Revisar </a:t>
            </a:r>
            <a:r>
              <a:rPr lang="es-MX" sz="950" b="1" dirty="0" err="1">
                <a:solidFill>
                  <a:prstClr val="white"/>
                </a:solidFill>
                <a:latin typeface="Flexo"/>
                <a:cs typeface="Flexo"/>
              </a:rPr>
              <a:t>Logs</a:t>
            </a:r>
            <a:endParaRPr lang="es-PE" sz="950" b="1" dirty="0">
              <a:solidFill>
                <a:prstClr val="white"/>
              </a:solidFill>
              <a:latin typeface="Flexo"/>
              <a:cs typeface="Flexo"/>
            </a:endParaRPr>
          </a:p>
        </p:txBody>
      </p:sp>
      <p:sp>
        <p:nvSpPr>
          <p:cNvPr id="68" name="CuadroTexto 67"/>
          <p:cNvSpPr txBox="1"/>
          <p:nvPr/>
        </p:nvSpPr>
        <p:spPr>
          <a:xfrm>
            <a:off x="7054551" y="4280273"/>
            <a:ext cx="1444578" cy="286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24" dirty="0"/>
              <a:t>REVERSIÓN</a:t>
            </a:r>
            <a:endParaRPr lang="es-ES" sz="1837" dirty="0"/>
          </a:p>
        </p:txBody>
      </p:sp>
      <p:sp>
        <p:nvSpPr>
          <p:cNvPr id="3" name="Rombo 2"/>
          <p:cNvSpPr/>
          <p:nvPr/>
        </p:nvSpPr>
        <p:spPr>
          <a:xfrm>
            <a:off x="4784893" y="4849885"/>
            <a:ext cx="1416290" cy="724666"/>
          </a:xfrm>
          <a:prstGeom prst="diamond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18" dirty="0">
                <a:solidFill>
                  <a:schemeClr val="tx1"/>
                </a:solidFill>
              </a:rPr>
              <a:t>Isuees de Shell genérica</a:t>
            </a:r>
          </a:p>
        </p:txBody>
      </p:sp>
      <p:cxnSp>
        <p:nvCxnSpPr>
          <p:cNvPr id="5" name="Conector recto de flecha 4"/>
          <p:cNvCxnSpPr>
            <a:cxnSpLocks/>
            <a:stCxn id="3" idx="3"/>
          </p:cNvCxnSpPr>
          <p:nvPr/>
        </p:nvCxnSpPr>
        <p:spPr>
          <a:xfrm flipV="1">
            <a:off x="6201183" y="5198518"/>
            <a:ext cx="1114375" cy="137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uadroTexto 6"/>
          <p:cNvSpPr txBox="1"/>
          <p:nvPr/>
        </p:nvSpPr>
        <p:spPr>
          <a:xfrm>
            <a:off x="6113880" y="5027067"/>
            <a:ext cx="319935" cy="222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16" dirty="0"/>
              <a:t>SI</a:t>
            </a:r>
            <a:endParaRPr lang="es-ES" sz="1837" dirty="0"/>
          </a:p>
        </p:txBody>
      </p:sp>
      <p:sp>
        <p:nvSpPr>
          <p:cNvPr id="9" name="Rectángulo 8"/>
          <p:cNvSpPr/>
          <p:nvPr/>
        </p:nvSpPr>
        <p:spPr>
          <a:xfrm>
            <a:off x="4878088" y="5811413"/>
            <a:ext cx="1291043" cy="2870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50" b="1" dirty="0">
                <a:solidFill>
                  <a:prstClr val="white"/>
                </a:solidFill>
                <a:latin typeface="Flexo"/>
                <a:cs typeface="Flexo"/>
              </a:rPr>
              <a:t>Evaluar otras opciones</a:t>
            </a:r>
          </a:p>
        </p:txBody>
      </p:sp>
      <p:sp>
        <p:nvSpPr>
          <p:cNvPr id="76" name="Rectángulo: esquinas redondeadas 30">
            <a:extLst>
              <a:ext uri="{FF2B5EF4-FFF2-40B4-BE49-F238E27FC236}">
                <a16:creationId xmlns:a16="http://schemas.microsoft.com/office/drawing/2014/main" id="{58C761A5-51DD-4056-B9E2-286797F87A8D}"/>
              </a:ext>
            </a:extLst>
          </p:cNvPr>
          <p:cNvSpPr/>
          <p:nvPr/>
        </p:nvSpPr>
        <p:spPr>
          <a:xfrm>
            <a:off x="3023195" y="4516501"/>
            <a:ext cx="3486074" cy="1691219"/>
          </a:xfrm>
          <a:prstGeom prst="roundRect">
            <a:avLst/>
          </a:prstGeom>
          <a:noFill/>
          <a:ln w="28575" cap="flat" cmpd="thickThin" algn="ctr">
            <a:solidFill>
              <a:sysClr val="windowText" lastClr="000000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defTabSz="466479">
              <a:defRPr/>
            </a:pPr>
            <a:endParaRPr lang="es-PE" sz="1837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1" name="CuadroTexto 80"/>
          <p:cNvSpPr txBox="1"/>
          <p:nvPr/>
        </p:nvSpPr>
        <p:spPr>
          <a:xfrm>
            <a:off x="5495000" y="5544647"/>
            <a:ext cx="546749" cy="222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16" dirty="0"/>
              <a:t>NO</a:t>
            </a:r>
            <a:endParaRPr lang="es-ES" sz="1837" dirty="0"/>
          </a:p>
        </p:txBody>
      </p:sp>
      <p:cxnSp>
        <p:nvCxnSpPr>
          <p:cNvPr id="82" name="Conector recto de flecha 81"/>
          <p:cNvCxnSpPr>
            <a:cxnSpLocks/>
          </p:cNvCxnSpPr>
          <p:nvPr/>
        </p:nvCxnSpPr>
        <p:spPr>
          <a:xfrm>
            <a:off x="5483427" y="5579958"/>
            <a:ext cx="0" cy="1836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ector recto de flecha 92"/>
          <p:cNvCxnSpPr>
            <a:endCxn id="3" idx="1"/>
          </p:cNvCxnSpPr>
          <p:nvPr/>
        </p:nvCxnSpPr>
        <p:spPr>
          <a:xfrm flipV="1">
            <a:off x="4393992" y="5212218"/>
            <a:ext cx="390901" cy="74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n 7">
            <a:extLst>
              <a:ext uri="{FF2B5EF4-FFF2-40B4-BE49-F238E27FC236}">
                <a16:creationId xmlns:a16="http://schemas.microsoft.com/office/drawing/2014/main" id="{565CB4EF-7CF4-460D-7DFB-3C50B5D49F0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1" b="4440"/>
          <a:stretch/>
        </p:blipFill>
        <p:spPr>
          <a:xfrm>
            <a:off x="3772041" y="1995819"/>
            <a:ext cx="1707790" cy="1464823"/>
          </a:xfrm>
          <a:prstGeom prst="rect">
            <a:avLst/>
          </a:prstGeom>
        </p:spPr>
      </p:pic>
      <p:sp>
        <p:nvSpPr>
          <p:cNvPr id="14" name="Rectángulo 13">
            <a:extLst>
              <a:ext uri="{FF2B5EF4-FFF2-40B4-BE49-F238E27FC236}">
                <a16:creationId xmlns:a16="http://schemas.microsoft.com/office/drawing/2014/main" id="{009BAD86-2BED-11D7-C861-2CE234C1B904}"/>
              </a:ext>
            </a:extLst>
          </p:cNvPr>
          <p:cNvSpPr/>
          <p:nvPr/>
        </p:nvSpPr>
        <p:spPr>
          <a:xfrm>
            <a:off x="525562" y="2598460"/>
            <a:ext cx="1404071" cy="392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  <a:defRPr/>
            </a:pP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- Aprobación de </a:t>
            </a:r>
            <a:r>
              <a:rPr lang="es-MX" sz="950" b="1" dirty="0" err="1">
                <a:solidFill>
                  <a:prstClr val="white"/>
                </a:solidFill>
                <a:latin typeface="Flexo"/>
                <a:cs typeface="Flexo"/>
              </a:rPr>
              <a:t>Squad</a:t>
            </a: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 RDV/UDV/DDV</a:t>
            </a:r>
            <a:endParaRPr lang="es-PE" sz="950" b="1" dirty="0">
              <a:solidFill>
                <a:prstClr val="white"/>
              </a:solidFill>
              <a:latin typeface="Flexo"/>
              <a:cs typeface="Flexo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3F73817A-6F0D-DE7F-CFD9-F1919BACD3BA}"/>
              </a:ext>
            </a:extLst>
          </p:cNvPr>
          <p:cNvSpPr/>
          <p:nvPr/>
        </p:nvSpPr>
        <p:spPr>
          <a:xfrm>
            <a:off x="3879031" y="2567086"/>
            <a:ext cx="149381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  <a:defRPr/>
            </a:pP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- Ejecución en dinámico de los procesos</a:t>
            </a:r>
            <a:endParaRPr lang="es-PE" sz="950" b="1" dirty="0">
              <a:solidFill>
                <a:prstClr val="white"/>
              </a:solidFill>
              <a:latin typeface="Flexo"/>
              <a:cs typeface="Flexo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ADE9B9F9-546E-0701-B3DD-906DD2F39C59}"/>
              </a:ext>
            </a:extLst>
          </p:cNvPr>
          <p:cNvSpPr/>
          <p:nvPr/>
        </p:nvSpPr>
        <p:spPr>
          <a:xfrm>
            <a:off x="619859" y="1314214"/>
            <a:ext cx="1260000" cy="684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none" anchor="ctr" anchorCtr="0">
            <a:noAutofit/>
          </a:bodyPr>
          <a:lstStyle/>
          <a:p>
            <a:pPr marL="12700" algn="ctr" defTabSz="914396">
              <a:spcBef>
                <a:spcPts val="100"/>
              </a:spcBef>
              <a:defRPr/>
            </a:pPr>
            <a:r>
              <a:rPr lang="es-PE" sz="900" dirty="0">
                <a:solidFill>
                  <a:srgbClr val="44546A"/>
                </a:solidFill>
                <a:latin typeface="Flexo"/>
                <a:cs typeface="Flexo"/>
              </a:rPr>
              <a:t>Continuidad Operativa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DACE1C99-617B-6DAE-1063-9D285F46EAA3}"/>
              </a:ext>
            </a:extLst>
          </p:cNvPr>
          <p:cNvSpPr/>
          <p:nvPr/>
        </p:nvSpPr>
        <p:spPr>
          <a:xfrm>
            <a:off x="4069932" y="1326591"/>
            <a:ext cx="1224000" cy="64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anchor="ctr" anchorCtr="0">
            <a:noAutofit/>
          </a:bodyPr>
          <a:lstStyle/>
          <a:p>
            <a:pPr marL="12447" marR="0" lvl="0" indent="0" algn="ctr" defTabSz="896203" rtl="0" eaLnBrk="1" fontAlgn="auto" latinLnBrk="0" hangingPunct="1">
              <a:lnSpc>
                <a:spcPct val="100000"/>
              </a:lnSpc>
              <a:spcBef>
                <a:spcPts val="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PE" sz="882" dirty="0">
              <a:solidFill>
                <a:srgbClr val="44546A"/>
              </a:solidFill>
              <a:latin typeface="Flexo"/>
              <a:cs typeface="Flexo"/>
            </a:endParaRPr>
          </a:p>
          <a:p>
            <a:pPr marL="12447" marR="0" lvl="0" indent="0" algn="ctr" defTabSz="896203" rtl="0" eaLnBrk="1" fontAlgn="auto" latinLnBrk="0" hangingPunct="1">
              <a:lnSpc>
                <a:spcPct val="100000"/>
              </a:lnSpc>
              <a:spcBef>
                <a:spcPts val="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sz="882" dirty="0">
                <a:solidFill>
                  <a:srgbClr val="44546A"/>
                </a:solidFill>
                <a:latin typeface="Flexo"/>
                <a:cs typeface="Flexo"/>
              </a:rPr>
              <a:t>Operaciones Data</a:t>
            </a:r>
          </a:p>
          <a:p>
            <a:pPr marL="12447" marR="0" lvl="0" indent="0" algn="ctr" defTabSz="896203" rtl="0" eaLnBrk="1" fontAlgn="auto" latinLnBrk="0" hangingPunct="1">
              <a:lnSpc>
                <a:spcPct val="100000"/>
              </a:lnSpc>
              <a:spcBef>
                <a:spcPts val="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882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Flexo"/>
              <a:ea typeface="+mn-ea"/>
              <a:cs typeface="Flexo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3B43E1F-D168-A391-EBF6-69608EA462A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1" b="4440"/>
          <a:stretch/>
        </p:blipFill>
        <p:spPr>
          <a:xfrm>
            <a:off x="5658201" y="1956242"/>
            <a:ext cx="1848379" cy="1585411"/>
          </a:xfrm>
          <a:prstGeom prst="rect">
            <a:avLst/>
          </a:prstGeom>
        </p:spPr>
      </p:pic>
      <p:sp>
        <p:nvSpPr>
          <p:cNvPr id="22" name="Rectángulo 21">
            <a:extLst>
              <a:ext uri="{FF2B5EF4-FFF2-40B4-BE49-F238E27FC236}">
                <a16:creationId xmlns:a16="http://schemas.microsoft.com/office/drawing/2014/main" id="{1CABAFB5-11FD-E50C-637B-9BA7215D15F7}"/>
              </a:ext>
            </a:extLst>
          </p:cNvPr>
          <p:cNvSpPr/>
          <p:nvPr/>
        </p:nvSpPr>
        <p:spPr>
          <a:xfrm>
            <a:off x="5494765" y="1324804"/>
            <a:ext cx="2342950" cy="64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anchor="ctr" anchorCtr="0">
            <a:noAutofit/>
          </a:bodyPr>
          <a:lstStyle/>
          <a:p>
            <a:pPr marL="12700" defTabSz="914396">
              <a:spcBef>
                <a:spcPts val="100"/>
              </a:spcBef>
              <a:defRPr/>
            </a:pPr>
            <a:r>
              <a:rPr lang="es-PE" sz="900" dirty="0">
                <a:solidFill>
                  <a:srgbClr val="44546A"/>
                </a:solidFill>
                <a:latin typeface="Flexo"/>
                <a:cs typeface="Flexo"/>
              </a:rPr>
              <a:t>Validación interna Plataforma </a:t>
            </a:r>
            <a:r>
              <a:rPr lang="es-PE" sz="900" dirty="0" err="1">
                <a:solidFill>
                  <a:srgbClr val="44546A"/>
                </a:solidFill>
                <a:latin typeface="Flexo"/>
                <a:cs typeface="Flexo"/>
              </a:rPr>
              <a:t>Datalake</a:t>
            </a:r>
            <a:r>
              <a:rPr lang="es-PE" sz="900" dirty="0">
                <a:solidFill>
                  <a:srgbClr val="44546A"/>
                </a:solidFill>
                <a:latin typeface="Flexo"/>
                <a:cs typeface="Flexo"/>
              </a:rPr>
              <a:t> Cloud</a:t>
            </a:r>
          </a:p>
          <a:p>
            <a:pPr marL="12700" defTabSz="914396">
              <a:spcBef>
                <a:spcPts val="100"/>
              </a:spcBef>
              <a:defRPr/>
            </a:pPr>
            <a:r>
              <a:rPr lang="es-PE" sz="900" dirty="0">
                <a:solidFill>
                  <a:srgbClr val="44546A"/>
                </a:solidFill>
                <a:latin typeface="Flexo"/>
                <a:cs typeface="Flexo"/>
              </a:rPr>
              <a:t>Validación </a:t>
            </a:r>
            <a:r>
              <a:rPr lang="es-PE" sz="900" dirty="0" err="1">
                <a:solidFill>
                  <a:srgbClr val="44546A"/>
                </a:solidFill>
                <a:latin typeface="Flexo"/>
                <a:cs typeface="Flexo"/>
              </a:rPr>
              <a:t>Squad</a:t>
            </a:r>
            <a:r>
              <a:rPr lang="es-PE" sz="900" dirty="0">
                <a:solidFill>
                  <a:srgbClr val="44546A"/>
                </a:solidFill>
                <a:latin typeface="Flexo"/>
                <a:cs typeface="Flexo"/>
              </a:rPr>
              <a:t> RDV/UDV/DDV</a:t>
            </a:r>
          </a:p>
          <a:p>
            <a:pPr marL="12700" algn="ctr" defTabSz="914396">
              <a:spcBef>
                <a:spcPts val="100"/>
              </a:spcBef>
              <a:defRPr/>
            </a:pPr>
            <a:endParaRPr lang="es-PE" sz="900" dirty="0">
              <a:solidFill>
                <a:srgbClr val="44546A"/>
              </a:solidFill>
              <a:latin typeface="Flexo"/>
              <a:cs typeface="Flexo"/>
            </a:endParaRPr>
          </a:p>
        </p:txBody>
      </p:sp>
      <p:pic>
        <p:nvPicPr>
          <p:cNvPr id="46" name="Imagen 45">
            <a:extLst>
              <a:ext uri="{FF2B5EF4-FFF2-40B4-BE49-F238E27FC236}">
                <a16:creationId xmlns:a16="http://schemas.microsoft.com/office/drawing/2014/main" id="{85894724-1946-440E-7BAD-902C4AE9B04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9632" y="3680098"/>
            <a:ext cx="201653" cy="190449"/>
          </a:xfrm>
          <a:prstGeom prst="rect">
            <a:avLst/>
          </a:prstGeom>
        </p:spPr>
      </p:pic>
      <p:pic>
        <p:nvPicPr>
          <p:cNvPr id="47" name="Imagen 46">
            <a:extLst>
              <a:ext uri="{FF2B5EF4-FFF2-40B4-BE49-F238E27FC236}">
                <a16:creationId xmlns:a16="http://schemas.microsoft.com/office/drawing/2014/main" id="{D56D374D-D859-68D2-BF66-CA0C34233E5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177" y="3653697"/>
            <a:ext cx="201653" cy="190449"/>
          </a:xfrm>
          <a:prstGeom prst="rect">
            <a:avLst/>
          </a:prstGeom>
        </p:spPr>
      </p:pic>
      <p:sp>
        <p:nvSpPr>
          <p:cNvPr id="52" name="Rectángulo 51">
            <a:extLst>
              <a:ext uri="{FF2B5EF4-FFF2-40B4-BE49-F238E27FC236}">
                <a16:creationId xmlns:a16="http://schemas.microsoft.com/office/drawing/2014/main" id="{1DA60163-4CF7-DB64-CFC4-6F762CC77BDA}"/>
              </a:ext>
            </a:extLst>
          </p:cNvPr>
          <p:cNvSpPr/>
          <p:nvPr/>
        </p:nvSpPr>
        <p:spPr>
          <a:xfrm>
            <a:off x="1956350" y="3833687"/>
            <a:ext cx="1702355" cy="250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447" marR="0" lvl="0" indent="0" algn="ctr" defTabSz="896203" rtl="0" eaLnBrk="1" fontAlgn="auto" latinLnBrk="0" hangingPunct="1">
              <a:lnSpc>
                <a:spcPct val="100000"/>
              </a:lnSpc>
              <a:spcBef>
                <a:spcPts val="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29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Flexo"/>
                <a:ea typeface="+mn-ea"/>
                <a:cs typeface="+mn-cs"/>
              </a:rPr>
              <a:t>Horario oficina</a:t>
            </a:r>
            <a:endParaRPr kumimoji="0" lang="es-PE" sz="1029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Flexo"/>
              <a:ea typeface="+mn-ea"/>
              <a:cs typeface="+mn-cs"/>
            </a:endParaRP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E722ACE8-57F5-C9EA-6C01-AD41EF57659D}"/>
              </a:ext>
            </a:extLst>
          </p:cNvPr>
          <p:cNvSpPr/>
          <p:nvPr/>
        </p:nvSpPr>
        <p:spPr>
          <a:xfrm>
            <a:off x="3669105" y="3836977"/>
            <a:ext cx="1702355" cy="250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447" marR="0" lvl="0" indent="0" algn="ctr" defTabSz="896203" rtl="0" eaLnBrk="1" fontAlgn="auto" latinLnBrk="0" hangingPunct="1">
              <a:lnSpc>
                <a:spcPct val="100000"/>
              </a:lnSpc>
              <a:spcBef>
                <a:spcPts val="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29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Flexo"/>
                <a:ea typeface="+mn-ea"/>
                <a:cs typeface="+mn-cs"/>
              </a:rPr>
              <a:t>Horario oficina</a:t>
            </a:r>
            <a:endParaRPr kumimoji="0" lang="es-PE" sz="1029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Flexo"/>
              <a:ea typeface="+mn-ea"/>
              <a:cs typeface="+mn-cs"/>
            </a:endParaRPr>
          </a:p>
        </p:txBody>
      </p:sp>
      <p:pic>
        <p:nvPicPr>
          <p:cNvPr id="55" name="Imagen 54">
            <a:extLst>
              <a:ext uri="{FF2B5EF4-FFF2-40B4-BE49-F238E27FC236}">
                <a16:creationId xmlns:a16="http://schemas.microsoft.com/office/drawing/2014/main" id="{9CC89C48-4F4E-2992-A191-4DA7F060BAC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1" b="4440"/>
          <a:stretch/>
        </p:blipFill>
        <p:spPr>
          <a:xfrm>
            <a:off x="7712943" y="2015053"/>
            <a:ext cx="1742040" cy="1494201"/>
          </a:xfrm>
          <a:prstGeom prst="rect">
            <a:avLst/>
          </a:prstGeom>
        </p:spPr>
      </p:pic>
      <p:sp>
        <p:nvSpPr>
          <p:cNvPr id="58" name="Rectángulo 57">
            <a:extLst>
              <a:ext uri="{FF2B5EF4-FFF2-40B4-BE49-F238E27FC236}">
                <a16:creationId xmlns:a16="http://schemas.microsoft.com/office/drawing/2014/main" id="{B4280834-F90B-F626-D6FB-7285EFFF3BBD}"/>
              </a:ext>
            </a:extLst>
          </p:cNvPr>
          <p:cNvSpPr/>
          <p:nvPr/>
        </p:nvSpPr>
        <p:spPr>
          <a:xfrm>
            <a:off x="7839547" y="2614566"/>
            <a:ext cx="1493810" cy="2385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4150" indent="-171450" defTabSz="914396">
              <a:spcBef>
                <a:spcPts val="100"/>
              </a:spcBef>
              <a:buFontTx/>
              <a:buChar char="-"/>
              <a:defRPr/>
            </a:pP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Ejecución en rutina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B0F863FC-AFE3-8548-2E9A-316958D1F900}"/>
              </a:ext>
            </a:extLst>
          </p:cNvPr>
          <p:cNvSpPr/>
          <p:nvPr/>
        </p:nvSpPr>
        <p:spPr>
          <a:xfrm>
            <a:off x="8041905" y="1323545"/>
            <a:ext cx="1010511" cy="64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anchor="ctr" anchorCtr="0">
            <a:noAutofit/>
          </a:bodyPr>
          <a:lstStyle/>
          <a:p>
            <a:pPr marL="12447" marR="0" lvl="0" indent="0" algn="ctr" defTabSz="896203" rtl="0" eaLnBrk="1" fontAlgn="auto" latinLnBrk="0" hangingPunct="1">
              <a:lnSpc>
                <a:spcPct val="100000"/>
              </a:lnSpc>
              <a:spcBef>
                <a:spcPts val="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882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Flexo"/>
                <a:ea typeface="+mn-ea"/>
                <a:cs typeface="Flexo"/>
              </a:rPr>
              <a:t>Operaciones Data</a:t>
            </a:r>
          </a:p>
        </p:txBody>
      </p:sp>
      <p:pic>
        <p:nvPicPr>
          <p:cNvPr id="61" name="Imagen 60">
            <a:extLst>
              <a:ext uri="{FF2B5EF4-FFF2-40B4-BE49-F238E27FC236}">
                <a16:creationId xmlns:a16="http://schemas.microsoft.com/office/drawing/2014/main" id="{8F14A819-E31F-3B29-4B38-9081CC0598F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6600" y="3622946"/>
            <a:ext cx="201653" cy="190449"/>
          </a:xfrm>
          <a:prstGeom prst="rect">
            <a:avLst/>
          </a:prstGeom>
        </p:spPr>
      </p:pic>
      <p:sp>
        <p:nvSpPr>
          <p:cNvPr id="62" name="Rectángulo 61">
            <a:extLst>
              <a:ext uri="{FF2B5EF4-FFF2-40B4-BE49-F238E27FC236}">
                <a16:creationId xmlns:a16="http://schemas.microsoft.com/office/drawing/2014/main" id="{2E7E4F3D-F23F-C1A5-5CD2-0B4AE0D4B00B}"/>
              </a:ext>
            </a:extLst>
          </p:cNvPr>
          <p:cNvSpPr/>
          <p:nvPr/>
        </p:nvSpPr>
        <p:spPr>
          <a:xfrm>
            <a:off x="6849099" y="3310484"/>
            <a:ext cx="1640382" cy="397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  <a:defRPr/>
            </a:pPr>
            <a:r>
              <a:rPr lang="es-MX" sz="950" b="1" dirty="0">
                <a:latin typeface="Flexo"/>
                <a:cs typeface="Flexo"/>
              </a:rPr>
              <a:t>¿Validación </a:t>
            </a:r>
          </a:p>
          <a:p>
            <a:pPr marL="12700" algn="ctr" defTabSz="914396">
              <a:spcBef>
                <a:spcPts val="100"/>
              </a:spcBef>
              <a:defRPr/>
            </a:pPr>
            <a:r>
              <a:rPr lang="es-MX" sz="950" b="1" dirty="0">
                <a:latin typeface="Flexo"/>
                <a:cs typeface="Flexo"/>
              </a:rPr>
              <a:t>satisfactoria?</a:t>
            </a:r>
            <a:endParaRPr lang="es-PE" sz="950" b="1" dirty="0">
              <a:latin typeface="Flexo"/>
              <a:cs typeface="Flexo"/>
            </a:endParaRPr>
          </a:p>
        </p:txBody>
      </p:sp>
      <p:cxnSp>
        <p:nvCxnSpPr>
          <p:cNvPr id="63" name="Conector recto de flecha 62">
            <a:extLst>
              <a:ext uri="{FF2B5EF4-FFF2-40B4-BE49-F238E27FC236}">
                <a16:creationId xmlns:a16="http://schemas.microsoft.com/office/drawing/2014/main" id="{FC5551B3-FD07-6B0A-DB8B-1B9366A29317}"/>
              </a:ext>
            </a:extLst>
          </p:cNvPr>
          <p:cNvCxnSpPr>
            <a:cxnSpLocks/>
          </p:cNvCxnSpPr>
          <p:nvPr/>
        </p:nvCxnSpPr>
        <p:spPr>
          <a:xfrm>
            <a:off x="7853784" y="3794280"/>
            <a:ext cx="0" cy="46724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de flecha 71">
            <a:extLst>
              <a:ext uri="{FF2B5EF4-FFF2-40B4-BE49-F238E27FC236}">
                <a16:creationId xmlns:a16="http://schemas.microsoft.com/office/drawing/2014/main" id="{0C0A07AA-D0EB-267B-2ED6-93A9EECFB5C4}"/>
              </a:ext>
            </a:extLst>
          </p:cNvPr>
          <p:cNvCxnSpPr>
            <a:cxnSpLocks/>
          </p:cNvCxnSpPr>
          <p:nvPr/>
        </p:nvCxnSpPr>
        <p:spPr>
          <a:xfrm>
            <a:off x="10185842" y="3780034"/>
            <a:ext cx="0" cy="46724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ángulo 73">
            <a:extLst>
              <a:ext uri="{FF2B5EF4-FFF2-40B4-BE49-F238E27FC236}">
                <a16:creationId xmlns:a16="http://schemas.microsoft.com/office/drawing/2014/main" id="{038CD233-285E-1EB8-2667-1B217082896D}"/>
              </a:ext>
            </a:extLst>
          </p:cNvPr>
          <p:cNvSpPr/>
          <p:nvPr/>
        </p:nvSpPr>
        <p:spPr>
          <a:xfrm>
            <a:off x="9866575" y="3916324"/>
            <a:ext cx="319267" cy="2433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  <a:defRPr/>
            </a:pPr>
            <a:r>
              <a:rPr lang="es-MX" sz="950" b="1" dirty="0">
                <a:solidFill>
                  <a:srgbClr val="FF0000"/>
                </a:solidFill>
                <a:latin typeface="Flexo"/>
                <a:cs typeface="Flexo"/>
              </a:rPr>
              <a:t>Si</a:t>
            </a:r>
            <a:endParaRPr lang="es-PE" sz="950" b="1" dirty="0">
              <a:solidFill>
                <a:srgbClr val="FF0000"/>
              </a:solidFill>
              <a:latin typeface="Flexo"/>
              <a:cs typeface="Flexo"/>
            </a:endParaRPr>
          </a:p>
        </p:txBody>
      </p:sp>
      <p:sp>
        <p:nvSpPr>
          <p:cNvPr id="78" name="Rectángulo 77">
            <a:extLst>
              <a:ext uri="{FF2B5EF4-FFF2-40B4-BE49-F238E27FC236}">
                <a16:creationId xmlns:a16="http://schemas.microsoft.com/office/drawing/2014/main" id="{4B927F70-3814-F6AC-B244-EB465ECC7F8E}"/>
              </a:ext>
            </a:extLst>
          </p:cNvPr>
          <p:cNvSpPr/>
          <p:nvPr/>
        </p:nvSpPr>
        <p:spPr>
          <a:xfrm>
            <a:off x="10181474" y="3726994"/>
            <a:ext cx="382008" cy="2433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 defTabSz="914396">
              <a:spcBef>
                <a:spcPts val="100"/>
              </a:spcBef>
              <a:defRPr/>
            </a:pPr>
            <a:r>
              <a:rPr lang="es-MX" sz="950" b="1" dirty="0">
                <a:solidFill>
                  <a:srgbClr val="00B050"/>
                </a:solidFill>
                <a:latin typeface="Flexo"/>
                <a:cs typeface="Flexo"/>
              </a:rPr>
              <a:t>No</a:t>
            </a:r>
            <a:endParaRPr lang="es-PE" sz="950" b="1" dirty="0">
              <a:solidFill>
                <a:srgbClr val="00B050"/>
              </a:solidFill>
              <a:latin typeface="Flexo"/>
              <a:cs typeface="Flexo"/>
            </a:endParaRPr>
          </a:p>
        </p:txBody>
      </p:sp>
      <p:sp>
        <p:nvSpPr>
          <p:cNvPr id="79" name="Rectángulo 78">
            <a:extLst>
              <a:ext uri="{FF2B5EF4-FFF2-40B4-BE49-F238E27FC236}">
                <a16:creationId xmlns:a16="http://schemas.microsoft.com/office/drawing/2014/main" id="{93AA184C-8132-5E94-E27A-882B4B0E01B5}"/>
              </a:ext>
            </a:extLst>
          </p:cNvPr>
          <p:cNvSpPr/>
          <p:nvPr/>
        </p:nvSpPr>
        <p:spPr>
          <a:xfrm>
            <a:off x="5683932" y="3830018"/>
            <a:ext cx="1702355" cy="250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447" marR="0" lvl="0" indent="0" algn="ctr" defTabSz="896203" rtl="0" eaLnBrk="1" fontAlgn="auto" latinLnBrk="0" hangingPunct="1">
              <a:lnSpc>
                <a:spcPct val="100000"/>
              </a:lnSpc>
              <a:spcBef>
                <a:spcPts val="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29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Flexo"/>
                <a:ea typeface="+mn-ea"/>
                <a:cs typeface="+mn-cs"/>
              </a:rPr>
              <a:t>Horario oficina</a:t>
            </a:r>
            <a:endParaRPr kumimoji="0" lang="es-PE" sz="1029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Flexo"/>
              <a:ea typeface="+mn-ea"/>
              <a:cs typeface="+mn-cs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16CC6E14-2E4E-92E1-94E3-D4BAFFD27F4A}"/>
              </a:ext>
            </a:extLst>
          </p:cNvPr>
          <p:cNvSpPr/>
          <p:nvPr/>
        </p:nvSpPr>
        <p:spPr>
          <a:xfrm>
            <a:off x="5936380" y="2306185"/>
            <a:ext cx="149381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defTabSz="914396">
              <a:spcBef>
                <a:spcPts val="100"/>
              </a:spcBef>
              <a:defRPr/>
            </a:pP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Ratificación técnica</a:t>
            </a:r>
            <a:b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</a:b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Estabilidad Shell genérica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8B4A166A-9AFD-9660-E5AA-79B3F79C3C4C}"/>
              </a:ext>
            </a:extLst>
          </p:cNvPr>
          <p:cNvSpPr/>
          <p:nvPr/>
        </p:nvSpPr>
        <p:spPr>
          <a:xfrm>
            <a:off x="5973836" y="2768645"/>
            <a:ext cx="1493810" cy="530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defTabSz="914396">
              <a:spcBef>
                <a:spcPts val="100"/>
              </a:spcBef>
              <a:defRPr/>
            </a:pP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Ratificación funcional</a:t>
            </a:r>
            <a:b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</a:b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-Conteo en </a:t>
            </a:r>
            <a:r>
              <a:rPr lang="es-MX" sz="950" b="1" dirty="0" err="1">
                <a:solidFill>
                  <a:prstClr val="white"/>
                </a:solidFill>
                <a:latin typeface="Flexo"/>
                <a:cs typeface="Flexo"/>
              </a:rPr>
              <a:t>on</a:t>
            </a: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-premise </a:t>
            </a:r>
            <a:b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</a:br>
            <a:r>
              <a:rPr lang="es-MX" sz="950" b="1" dirty="0">
                <a:solidFill>
                  <a:prstClr val="white"/>
                </a:solidFill>
                <a:latin typeface="Flexo"/>
                <a:cs typeface="Flexo"/>
              </a:rPr>
              <a:t>-Conteo en </a:t>
            </a:r>
            <a:r>
              <a:rPr lang="es-MX" sz="950" b="1" dirty="0" err="1">
                <a:solidFill>
                  <a:prstClr val="white"/>
                </a:solidFill>
                <a:latin typeface="Flexo"/>
                <a:cs typeface="Flexo"/>
              </a:rPr>
              <a:t>cloud</a:t>
            </a:r>
            <a:endParaRPr lang="es-MX" sz="950" b="1" dirty="0">
              <a:solidFill>
                <a:prstClr val="white"/>
              </a:solidFill>
              <a:latin typeface="Flexo"/>
              <a:cs typeface="Flexo"/>
            </a:endParaRP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102B631F-1AE3-916C-1A38-0F04C54E05F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365" y="3633058"/>
            <a:ext cx="201653" cy="190449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8F44C47E-C11B-99E2-BD36-6151755C189E}"/>
              </a:ext>
            </a:extLst>
          </p:cNvPr>
          <p:cNvSpPr/>
          <p:nvPr/>
        </p:nvSpPr>
        <p:spPr>
          <a:xfrm>
            <a:off x="412836" y="3845993"/>
            <a:ext cx="1702355" cy="250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447" marR="0" lvl="0" indent="0" algn="ctr" defTabSz="896203" rtl="0" eaLnBrk="1" fontAlgn="auto" latinLnBrk="0" hangingPunct="1">
              <a:lnSpc>
                <a:spcPct val="100000"/>
              </a:lnSpc>
              <a:spcBef>
                <a:spcPts val="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29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Flexo"/>
                <a:ea typeface="+mn-ea"/>
                <a:cs typeface="+mn-cs"/>
              </a:rPr>
              <a:t>Horario oficina</a:t>
            </a:r>
            <a:endParaRPr kumimoji="0" lang="es-PE" sz="1029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Flex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58640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2DC1626A-C94A-5639-5ACD-D05B58C913F6}"/>
              </a:ext>
            </a:extLst>
          </p:cNvPr>
          <p:cNvSpPr/>
          <p:nvPr/>
        </p:nvSpPr>
        <p:spPr>
          <a:xfrm>
            <a:off x="819933" y="590821"/>
            <a:ext cx="67378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56957">
              <a:defRPr/>
            </a:pPr>
            <a:r>
              <a:rPr lang="es-MX" sz="24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Aprobación </a:t>
            </a:r>
            <a:r>
              <a:rPr lang="es-MX" sz="2400" b="1" dirty="0" err="1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Squad</a:t>
            </a:r>
            <a:r>
              <a:rPr lang="es-MX" sz="24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RDV</a:t>
            </a:r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C688FB07-A94A-0414-E5A5-D7E6F05572BA}"/>
              </a:ext>
            </a:extLst>
          </p:cNvPr>
          <p:cNvGrpSpPr/>
          <p:nvPr/>
        </p:nvGrpSpPr>
        <p:grpSpPr>
          <a:xfrm>
            <a:off x="219174" y="514006"/>
            <a:ext cx="615296" cy="615296"/>
            <a:chOff x="536072" y="928559"/>
            <a:chExt cx="615296" cy="615296"/>
          </a:xfrm>
        </p:grpSpPr>
        <p:pic>
          <p:nvPicPr>
            <p:cNvPr id="9" name="Picture 2">
              <a:extLst>
                <a:ext uri="{FF2B5EF4-FFF2-40B4-BE49-F238E27FC236}">
                  <a16:creationId xmlns:a16="http://schemas.microsoft.com/office/drawing/2014/main" id="{35076490-BE02-E330-E2F3-FA70483342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536072" y="928559"/>
              <a:ext cx="615296" cy="615296"/>
            </a:xfrm>
            <a:prstGeom prst="rect">
              <a:avLst/>
            </a:prstGeom>
          </p:spPr>
        </p:pic>
        <p:pic>
          <p:nvPicPr>
            <p:cNvPr id="10" name="Picture 19">
              <a:extLst>
                <a:ext uri="{FF2B5EF4-FFF2-40B4-BE49-F238E27FC236}">
                  <a16:creationId xmlns:a16="http://schemas.microsoft.com/office/drawing/2014/main" id="{8F0ECBC4-50F7-7477-751A-E39D2CA8BB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p:blipFill>
          <p:spPr>
            <a:xfrm>
              <a:off x="694405" y="1077362"/>
              <a:ext cx="298629" cy="317690"/>
            </a:xfrm>
            <a:prstGeom prst="rect">
              <a:avLst/>
            </a:prstGeom>
          </p:spPr>
        </p:pic>
      </p:grpSp>
      <p:sp>
        <p:nvSpPr>
          <p:cNvPr id="12" name="Rectángulo 11">
            <a:extLst>
              <a:ext uri="{FF2B5EF4-FFF2-40B4-BE49-F238E27FC236}">
                <a16:creationId xmlns:a16="http://schemas.microsoft.com/office/drawing/2014/main" id="{F733AAA1-6E51-BAE2-5288-F0C2B5D0B36C}"/>
              </a:ext>
            </a:extLst>
          </p:cNvPr>
          <p:cNvSpPr/>
          <p:nvPr/>
        </p:nvSpPr>
        <p:spPr>
          <a:xfrm>
            <a:off x="676136" y="1417778"/>
            <a:ext cx="1055213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56957">
              <a:defRPr/>
            </a:pPr>
            <a:r>
              <a:rPr lang="es-MX" sz="16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Formato para conformidad de </a:t>
            </a:r>
            <a:r>
              <a:rPr lang="es-MX" sz="1600" b="1" dirty="0" err="1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wner</a:t>
            </a:r>
            <a:r>
              <a:rPr lang="es-MX" sz="16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para la desactivación de procesos </a:t>
            </a:r>
            <a:r>
              <a:rPr lang="es-MX" sz="1600" b="1" dirty="0" err="1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npremise</a:t>
            </a:r>
            <a:r>
              <a:rPr lang="es-MX" sz="16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y activación de procesos Cloud modo síncrono.</a:t>
            </a:r>
          </a:p>
        </p:txBody>
      </p:sp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id="{483BAFAA-E70A-ED11-D7F7-DC54EDD576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9856294"/>
              </p:ext>
            </p:extLst>
          </p:nvPr>
        </p:nvGraphicFramePr>
        <p:xfrm>
          <a:off x="834470" y="2223544"/>
          <a:ext cx="10552135" cy="1713970"/>
        </p:xfrm>
        <a:graphic>
          <a:graphicData uri="http://schemas.openxmlformats.org/drawingml/2006/table">
            <a:tbl>
              <a:tblPr/>
              <a:tblGrid>
                <a:gridCol w="253095">
                  <a:extLst>
                    <a:ext uri="{9D8B030D-6E8A-4147-A177-3AD203B41FA5}">
                      <a16:colId xmlns:a16="http://schemas.microsoft.com/office/drawing/2014/main" val="2957048692"/>
                    </a:ext>
                  </a:extLst>
                </a:gridCol>
                <a:gridCol w="1450432">
                  <a:extLst>
                    <a:ext uri="{9D8B030D-6E8A-4147-A177-3AD203B41FA5}">
                      <a16:colId xmlns:a16="http://schemas.microsoft.com/office/drawing/2014/main" val="2504464191"/>
                    </a:ext>
                  </a:extLst>
                </a:gridCol>
                <a:gridCol w="447784">
                  <a:extLst>
                    <a:ext uri="{9D8B030D-6E8A-4147-A177-3AD203B41FA5}">
                      <a16:colId xmlns:a16="http://schemas.microsoft.com/office/drawing/2014/main" val="714456699"/>
                    </a:ext>
                  </a:extLst>
                </a:gridCol>
                <a:gridCol w="603536">
                  <a:extLst>
                    <a:ext uri="{9D8B030D-6E8A-4147-A177-3AD203B41FA5}">
                      <a16:colId xmlns:a16="http://schemas.microsoft.com/office/drawing/2014/main" val="3046099654"/>
                    </a:ext>
                  </a:extLst>
                </a:gridCol>
                <a:gridCol w="603536">
                  <a:extLst>
                    <a:ext uri="{9D8B030D-6E8A-4147-A177-3AD203B41FA5}">
                      <a16:colId xmlns:a16="http://schemas.microsoft.com/office/drawing/2014/main" val="1360994346"/>
                    </a:ext>
                  </a:extLst>
                </a:gridCol>
                <a:gridCol w="496457">
                  <a:extLst>
                    <a:ext uri="{9D8B030D-6E8A-4147-A177-3AD203B41FA5}">
                      <a16:colId xmlns:a16="http://schemas.microsoft.com/office/drawing/2014/main" val="2730762001"/>
                    </a:ext>
                  </a:extLst>
                </a:gridCol>
                <a:gridCol w="681411">
                  <a:extLst>
                    <a:ext uri="{9D8B030D-6E8A-4147-A177-3AD203B41FA5}">
                      <a16:colId xmlns:a16="http://schemas.microsoft.com/office/drawing/2014/main" val="2421146881"/>
                    </a:ext>
                  </a:extLst>
                </a:gridCol>
                <a:gridCol w="691145">
                  <a:extLst>
                    <a:ext uri="{9D8B030D-6E8A-4147-A177-3AD203B41FA5}">
                      <a16:colId xmlns:a16="http://schemas.microsoft.com/office/drawing/2014/main" val="3982946607"/>
                    </a:ext>
                  </a:extLst>
                </a:gridCol>
                <a:gridCol w="681411">
                  <a:extLst>
                    <a:ext uri="{9D8B030D-6E8A-4147-A177-3AD203B41FA5}">
                      <a16:colId xmlns:a16="http://schemas.microsoft.com/office/drawing/2014/main" val="610543261"/>
                    </a:ext>
                  </a:extLst>
                </a:gridCol>
                <a:gridCol w="545128">
                  <a:extLst>
                    <a:ext uri="{9D8B030D-6E8A-4147-A177-3AD203B41FA5}">
                      <a16:colId xmlns:a16="http://schemas.microsoft.com/office/drawing/2014/main" val="905576161"/>
                    </a:ext>
                  </a:extLst>
                </a:gridCol>
                <a:gridCol w="769021">
                  <a:extLst>
                    <a:ext uri="{9D8B030D-6E8A-4147-A177-3AD203B41FA5}">
                      <a16:colId xmlns:a16="http://schemas.microsoft.com/office/drawing/2014/main" val="3164631399"/>
                    </a:ext>
                  </a:extLst>
                </a:gridCol>
                <a:gridCol w="399112">
                  <a:extLst>
                    <a:ext uri="{9D8B030D-6E8A-4147-A177-3AD203B41FA5}">
                      <a16:colId xmlns:a16="http://schemas.microsoft.com/office/drawing/2014/main" val="587093676"/>
                    </a:ext>
                  </a:extLst>
                </a:gridCol>
                <a:gridCol w="603536">
                  <a:extLst>
                    <a:ext uri="{9D8B030D-6E8A-4147-A177-3AD203B41FA5}">
                      <a16:colId xmlns:a16="http://schemas.microsoft.com/office/drawing/2014/main" val="3803907485"/>
                    </a:ext>
                  </a:extLst>
                </a:gridCol>
                <a:gridCol w="428315">
                  <a:extLst>
                    <a:ext uri="{9D8B030D-6E8A-4147-A177-3AD203B41FA5}">
                      <a16:colId xmlns:a16="http://schemas.microsoft.com/office/drawing/2014/main" val="1493609341"/>
                    </a:ext>
                  </a:extLst>
                </a:gridCol>
                <a:gridCol w="623004">
                  <a:extLst>
                    <a:ext uri="{9D8B030D-6E8A-4147-A177-3AD203B41FA5}">
                      <a16:colId xmlns:a16="http://schemas.microsoft.com/office/drawing/2014/main" val="880599567"/>
                    </a:ext>
                  </a:extLst>
                </a:gridCol>
                <a:gridCol w="1275212">
                  <a:extLst>
                    <a:ext uri="{9D8B030D-6E8A-4147-A177-3AD203B41FA5}">
                      <a16:colId xmlns:a16="http://schemas.microsoft.com/office/drawing/2014/main" val="2794623952"/>
                    </a:ext>
                  </a:extLst>
                </a:gridCol>
              </a:tblGrid>
              <a:tr h="478046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5E6A2"/>
                          </a:highlight>
                          <a:latin typeface="Aptos Narrow" panose="020B0004020202020204" pitchFamily="34" charset="0"/>
                        </a:rPr>
                        <a:t>ITEM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E6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5E6A2"/>
                          </a:highlight>
                          <a:latin typeface="Aptos Narrow" panose="020B0004020202020204" pitchFamily="34" charset="0"/>
                        </a:rPr>
                        <a:t>PROCESOS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E6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5E6A2"/>
                          </a:highlight>
                          <a:latin typeface="Aptos Narrow" panose="020B0004020202020204" pitchFamily="34" charset="0"/>
                        </a:rPr>
                        <a:t>MODULO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E6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5E6A2"/>
                          </a:highlight>
                          <a:latin typeface="Aptos Narrow" panose="020B0004020202020204" pitchFamily="34" charset="0"/>
                        </a:rPr>
                        <a:t>@JOBS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E6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5E6A2"/>
                          </a:highlight>
                          <a:latin typeface="Aptos Narrow" panose="020B0004020202020204" pitchFamily="34" charset="0"/>
                        </a:rPr>
                        <a:t>TECNOLOGIA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E6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5E6A2"/>
                          </a:highlight>
                          <a:latin typeface="Aptos Narrow" panose="020B0004020202020204" pitchFamily="34" charset="0"/>
                        </a:rPr>
                        <a:t>SE CONSUME HASTA …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E6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5E6A2"/>
                          </a:highlight>
                          <a:latin typeface="Aptos Narrow" panose="020B0004020202020204" pitchFamily="34" charset="0"/>
                        </a:rPr>
                        <a:t>ESTA EN RUTA CRITICA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E6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5E6A2"/>
                          </a:highlight>
                          <a:latin typeface="Aptos Narrow" panose="020B0004020202020204" pitchFamily="34" charset="0"/>
                        </a:rPr>
                        <a:t>FECHA DE ACTIVACIÓN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E6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5E6A2"/>
                          </a:highlight>
                          <a:latin typeface="Aptos Narrow" panose="020B0004020202020204" pitchFamily="34" charset="0"/>
                        </a:rPr>
                        <a:t>FRECUENCIA EJECUCION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E6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5E6A2"/>
                          </a:highlight>
                          <a:latin typeface="Aptos Narrow" panose="020B0004020202020204" pitchFamily="34" charset="0"/>
                        </a:rPr>
                        <a:t>TURNO M-S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E6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5E6A2"/>
                          </a:highlight>
                          <a:latin typeface="Aptos Narrow" panose="020B0004020202020204" pitchFamily="34" charset="0"/>
                        </a:rPr>
                        <a:t>DURACION PROMEDIO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E6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5E6A2"/>
                          </a:highlight>
                          <a:latin typeface="Aptos Narrow" panose="020B0004020202020204" pitchFamily="34" charset="0"/>
                        </a:rPr>
                        <a:t>DISEÑO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E6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5E6A2"/>
                          </a:highlight>
                          <a:latin typeface="Aptos Narrow" panose="020B0004020202020204" pitchFamily="34" charset="0"/>
                        </a:rPr>
                        <a:t>Tabla onpremise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E6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5E6A2"/>
                          </a:highlight>
                          <a:latin typeface="Aptos Narrow" panose="020B0004020202020204" pitchFamily="34" charset="0"/>
                        </a:rPr>
                        <a:t>Tabla Cloud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E6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5E6A2"/>
                          </a:highlight>
                          <a:latin typeface="Aptos Narrow" panose="020B0004020202020204" pitchFamily="34" charset="0"/>
                        </a:rPr>
                        <a:t>DUMMY ONPREMISE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E6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5E6A2"/>
                          </a:highlight>
                          <a:latin typeface="Aptos Narrow" panose="020B0004020202020204" pitchFamily="34" charset="0"/>
                        </a:rPr>
                        <a:t>OBSERVACIONES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E6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795878"/>
                  </a:ext>
                </a:extLst>
              </a:tr>
              <a:tr h="256512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SCO_COLFIN_RDT160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RDV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FF0000"/>
                          </a:solidFill>
                          <a:effectLst/>
                          <a:latin typeface="Aptos Narrow" panose="020B0004020202020204" pitchFamily="34" charset="0"/>
                        </a:rPr>
                        <a:t>@P1LKR2L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STG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DV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or programar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ario (M-D)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 AM-2 AM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3 MIN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ob registrado en tabla CT_PROCESOCARGA_LHCL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8459581"/>
                  </a:ext>
                </a:extLst>
              </a:tr>
              <a:tr h="139916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GGTT_BRO_CONT_DWH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RDV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FF0000"/>
                          </a:solidFill>
                          <a:effectLst/>
                          <a:latin typeface="Aptos Narrow" panose="020B0004020202020204" pitchFamily="34" charset="0"/>
                        </a:rPr>
                        <a:t>@P1LKQK5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STG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DV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or programar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ario(M-S)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 AM-2 AM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3 MIN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0149038"/>
                  </a:ext>
                </a:extLst>
              </a:tr>
              <a:tr h="139916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HCL_RDV_YAPE_YAPE_DEVICES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RDV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@P1LKBEQ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DF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DV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or programar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ario(L-D)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AM-8AM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 MIN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I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16974"/>
                  </a:ext>
                </a:extLst>
              </a:tr>
              <a:tr h="139916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HCL_RDV_YAPE_SALE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RDV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@P1LKBEM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DF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DV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or programar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ario(L-D)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AM-8AM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 MIN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I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1615606"/>
                  </a:ext>
                </a:extLst>
              </a:tr>
              <a:tr h="139916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5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BE2D5"/>
                          </a:highlight>
                          <a:latin typeface="Aptos Narrow" panose="020B0004020202020204" pitchFamily="34" charset="0"/>
                        </a:rPr>
                        <a:t>AHOR_SALDOS_CUENTAS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RDV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@P1LKA44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DB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DV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or programar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ario(L-S)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AM-2AM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 MIN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7742380"/>
                  </a:ext>
                </a:extLst>
              </a:tr>
              <a:tr h="139916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BE2D5"/>
                          </a:highlight>
                          <a:latin typeface="Aptos Narrow" panose="020B0004020202020204" pitchFamily="34" charset="0"/>
                        </a:rPr>
                        <a:t>AHOR_SALDOS_CUENTAS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ALI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@P1LKQ44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DB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DV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or programar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ario(L-S)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AM-2AM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MIN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1345425"/>
                  </a:ext>
                </a:extLst>
              </a:tr>
              <a:tr h="139916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7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BE2D5"/>
                          </a:highlight>
                          <a:latin typeface="Aptos Narrow" panose="020B0004020202020204" pitchFamily="34" charset="0"/>
                        </a:rPr>
                        <a:t>CSLT_FINDIA_RZE117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RDV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@P1LKAHH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DB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DV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or programar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ario(M-D)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 AM-2 AM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 MIN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1842746"/>
                  </a:ext>
                </a:extLst>
              </a:tr>
              <a:tr h="139916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BE2D5"/>
                          </a:highlight>
                          <a:latin typeface="Aptos Narrow" panose="020B0004020202020204" pitchFamily="34" charset="0"/>
                        </a:rPr>
                        <a:t>CSLT_FINDIA_RZE117</a:t>
                      </a:r>
                    </a:p>
                  </a:txBody>
                  <a:tcPr marL="5820" marR="5820" marT="58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ALI</a:t>
                      </a:r>
                    </a:p>
                  </a:txBody>
                  <a:tcPr marL="5820" marR="5820" marT="58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@P1LKQHH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DB</a:t>
                      </a:r>
                    </a:p>
                  </a:txBody>
                  <a:tcPr marL="5820" marR="5820" marT="58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</a:t>
                      </a:r>
                    </a:p>
                  </a:txBody>
                  <a:tcPr marL="5820" marR="5820" marT="58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or programar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iario(M-D)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 AM-2 AM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 MIN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-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O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5820" marR="5820" marT="58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33111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9749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n 18">
            <a:extLst>
              <a:ext uri="{FF2B5EF4-FFF2-40B4-BE49-F238E27FC236}">
                <a16:creationId xmlns:a16="http://schemas.microsoft.com/office/drawing/2014/main" id="{986C4B7F-2FDC-BEFD-9648-8C1D38E2CA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406" y="2145836"/>
            <a:ext cx="11086259" cy="438036"/>
          </a:xfrm>
          <a:prstGeom prst="rect">
            <a:avLst/>
          </a:prstGeom>
          <a:ln w="9525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8E25F6D8-D179-41EE-9FB8-D119D441C6E4}"/>
              </a:ext>
            </a:extLst>
          </p:cNvPr>
          <p:cNvSpPr/>
          <p:nvPr/>
        </p:nvSpPr>
        <p:spPr>
          <a:xfrm>
            <a:off x="821123" y="1768877"/>
            <a:ext cx="108048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56957">
              <a:defRPr/>
            </a:pPr>
            <a:r>
              <a:rPr lang="es-MX" sz="14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Registrar en el campo NBRPROCESOCARGAJOB de la tabla ADMIN.CT_PROCESOCARGA_LHCL el Job de DSTG</a:t>
            </a:r>
          </a:p>
        </p:txBody>
      </p:sp>
      <p:grpSp>
        <p:nvGrpSpPr>
          <p:cNvPr id="33" name="Grupo 32">
            <a:extLst>
              <a:ext uri="{FF2B5EF4-FFF2-40B4-BE49-F238E27FC236}">
                <a16:creationId xmlns:a16="http://schemas.microsoft.com/office/drawing/2014/main" id="{7DCCA261-3921-7330-CD9B-AAB7F1C0FE64}"/>
              </a:ext>
            </a:extLst>
          </p:cNvPr>
          <p:cNvGrpSpPr/>
          <p:nvPr/>
        </p:nvGrpSpPr>
        <p:grpSpPr>
          <a:xfrm>
            <a:off x="312111" y="435085"/>
            <a:ext cx="615296" cy="615296"/>
            <a:chOff x="536072" y="928559"/>
            <a:chExt cx="615296" cy="615296"/>
          </a:xfrm>
        </p:grpSpPr>
        <p:pic>
          <p:nvPicPr>
            <p:cNvPr id="23" name="Picture 2">
              <a:extLst>
                <a:ext uri="{FF2B5EF4-FFF2-40B4-BE49-F238E27FC236}">
                  <a16:creationId xmlns:a16="http://schemas.microsoft.com/office/drawing/2014/main" id="{5570C091-22B5-427D-B312-815ADBAB4F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p:blipFill>
          <p:spPr>
            <a:xfrm>
              <a:off x="536072" y="928559"/>
              <a:ext cx="615296" cy="615296"/>
            </a:xfrm>
            <a:prstGeom prst="rect">
              <a:avLst/>
            </a:prstGeom>
          </p:spPr>
        </p:pic>
        <p:pic>
          <p:nvPicPr>
            <p:cNvPr id="24" name="Picture 19">
              <a:extLst>
                <a:ext uri="{FF2B5EF4-FFF2-40B4-BE49-F238E27FC236}">
                  <a16:creationId xmlns:a16="http://schemas.microsoft.com/office/drawing/2014/main" id="{515FF0F7-FC21-4B4B-99CB-CAF8A869446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p:blipFill>
          <p:spPr>
            <a:xfrm>
              <a:off x="694405" y="1077362"/>
              <a:ext cx="298629" cy="317690"/>
            </a:xfrm>
            <a:prstGeom prst="rect">
              <a:avLst/>
            </a:prstGeom>
          </p:spPr>
        </p:pic>
      </p:grpSp>
      <p:sp>
        <p:nvSpPr>
          <p:cNvPr id="53" name="Rectángulo: esquinas redondeadas 52">
            <a:extLst>
              <a:ext uri="{FF2B5EF4-FFF2-40B4-BE49-F238E27FC236}">
                <a16:creationId xmlns:a16="http://schemas.microsoft.com/office/drawing/2014/main" id="{6FC29444-0515-492B-91C8-5B5C3B226A16}"/>
              </a:ext>
            </a:extLst>
          </p:cNvPr>
          <p:cNvSpPr/>
          <p:nvPr/>
        </p:nvSpPr>
        <p:spPr>
          <a:xfrm>
            <a:off x="2476974" y="2164351"/>
            <a:ext cx="1791000" cy="419521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4353" fontAlgn="base">
              <a:spcBef>
                <a:spcPct val="0"/>
              </a:spcBef>
              <a:spcAft>
                <a:spcPct val="0"/>
              </a:spcAft>
              <a:defRPr/>
            </a:pPr>
            <a:endParaRPr lang="es-PE" sz="1051" kern="0">
              <a:solidFill>
                <a:srgbClr val="000000">
                  <a:lumMod val="75000"/>
                  <a:lumOff val="25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20" name="Rectángulo: esquinas redondeadas 19">
            <a:extLst>
              <a:ext uri="{FF2B5EF4-FFF2-40B4-BE49-F238E27FC236}">
                <a16:creationId xmlns:a16="http://schemas.microsoft.com/office/drawing/2014/main" id="{334DDCCA-CBA6-D6D7-170A-DA53D8E8583B}"/>
              </a:ext>
            </a:extLst>
          </p:cNvPr>
          <p:cNvSpPr/>
          <p:nvPr/>
        </p:nvSpPr>
        <p:spPr>
          <a:xfrm>
            <a:off x="10187478" y="2182035"/>
            <a:ext cx="1791000" cy="428449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4353" fontAlgn="base">
              <a:spcBef>
                <a:spcPct val="0"/>
              </a:spcBef>
              <a:spcAft>
                <a:spcPct val="0"/>
              </a:spcAft>
              <a:defRPr/>
            </a:pPr>
            <a:endParaRPr lang="es-PE" sz="1051" kern="0">
              <a:solidFill>
                <a:srgbClr val="000000">
                  <a:lumMod val="75000"/>
                  <a:lumOff val="25000"/>
                </a:srgbClr>
              </a:solidFill>
              <a:latin typeface="Arial"/>
              <a:cs typeface="Arial" pitchFamily="34" charset="0"/>
            </a:endParaRPr>
          </a:p>
        </p:txBody>
      </p:sp>
      <p:pic>
        <p:nvPicPr>
          <p:cNvPr id="22" name="Imagen 21">
            <a:extLst>
              <a:ext uri="{FF2B5EF4-FFF2-40B4-BE49-F238E27FC236}">
                <a16:creationId xmlns:a16="http://schemas.microsoft.com/office/drawing/2014/main" id="{A4222287-0C2F-9D16-F4C0-AA17FCF1A2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7405" y="3252310"/>
            <a:ext cx="11086259" cy="1981200"/>
          </a:xfrm>
          <a:prstGeom prst="rect">
            <a:avLst/>
          </a:prstGeom>
          <a:ln w="9525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25" name="Rectángulo 24">
            <a:extLst>
              <a:ext uri="{FF2B5EF4-FFF2-40B4-BE49-F238E27FC236}">
                <a16:creationId xmlns:a16="http://schemas.microsoft.com/office/drawing/2014/main" id="{3C0559FB-5ED5-9E78-E080-89351BB6B24B}"/>
              </a:ext>
            </a:extLst>
          </p:cNvPr>
          <p:cNvSpPr/>
          <p:nvPr/>
        </p:nvSpPr>
        <p:spPr>
          <a:xfrm>
            <a:off x="821123" y="2755803"/>
            <a:ext cx="105213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4405">
              <a:defRPr/>
            </a:pPr>
            <a:r>
              <a:rPr lang="es-MX" sz="14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Registro de parámetros de convivencia y </a:t>
            </a:r>
            <a:r>
              <a:rPr lang="es-MX" sz="1400" b="1" dirty="0" err="1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flags</a:t>
            </a:r>
            <a:r>
              <a:rPr lang="es-MX" sz="14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en la tabla ADMIN.CT_PARAMETROPROCESOCARGA_LHCL </a:t>
            </a:r>
          </a:p>
        </p:txBody>
      </p:sp>
      <p:sp>
        <p:nvSpPr>
          <p:cNvPr id="28" name="Rectángulo: esquinas redondeadas 27">
            <a:extLst>
              <a:ext uri="{FF2B5EF4-FFF2-40B4-BE49-F238E27FC236}">
                <a16:creationId xmlns:a16="http://schemas.microsoft.com/office/drawing/2014/main" id="{40ED1F1B-B9C4-8F5E-6FEB-E0449D3143AE}"/>
              </a:ext>
            </a:extLst>
          </p:cNvPr>
          <p:cNvSpPr/>
          <p:nvPr/>
        </p:nvSpPr>
        <p:spPr>
          <a:xfrm>
            <a:off x="6736702" y="4478692"/>
            <a:ext cx="5241775" cy="428587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4353" fontAlgn="base">
              <a:spcBef>
                <a:spcPct val="0"/>
              </a:spcBef>
              <a:spcAft>
                <a:spcPct val="0"/>
              </a:spcAft>
              <a:defRPr/>
            </a:pPr>
            <a:endParaRPr lang="es-PE" sz="1051" kern="0">
              <a:solidFill>
                <a:srgbClr val="000000">
                  <a:lumMod val="75000"/>
                  <a:lumOff val="25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30" name="Freeform 5">
            <a:extLst>
              <a:ext uri="{FF2B5EF4-FFF2-40B4-BE49-F238E27FC236}">
                <a16:creationId xmlns:a16="http://schemas.microsoft.com/office/drawing/2014/main" id="{54B8920F-1356-F7E3-45F4-94DEBDC3C29B}"/>
              </a:ext>
            </a:extLst>
          </p:cNvPr>
          <p:cNvSpPr/>
          <p:nvPr/>
        </p:nvSpPr>
        <p:spPr>
          <a:xfrm>
            <a:off x="927405" y="5544593"/>
            <a:ext cx="3942908" cy="1149784"/>
          </a:xfrm>
          <a:custGeom>
            <a:avLst/>
            <a:gdLst/>
            <a:ahLst/>
            <a:cxnLst/>
            <a:rect l="l" t="t" r="r" b="b"/>
            <a:pathLst>
              <a:path w="753347" h="875338">
                <a:moveTo>
                  <a:pt x="753347" y="0"/>
                </a:moveTo>
                <a:lnTo>
                  <a:pt x="753347" y="761038"/>
                </a:lnTo>
                <a:lnTo>
                  <a:pt x="376673" y="875338"/>
                </a:lnTo>
                <a:lnTo>
                  <a:pt x="0" y="761038"/>
                </a:lnTo>
                <a:lnTo>
                  <a:pt x="0" y="0"/>
                </a:lnTo>
                <a:lnTo>
                  <a:pt x="753347" y="0"/>
                </a:lnTo>
                <a:close/>
              </a:path>
            </a:pathLst>
          </a:custGeom>
          <a:solidFill>
            <a:srgbClr val="FFFFCC"/>
          </a:solidFill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PE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PRM_ENABLE_CONVIVENCIA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PE" sz="1000" b="1" kern="0" dirty="0">
                <a:solidFill>
                  <a:srgbClr val="000000"/>
                </a:solidFill>
                <a:latin typeface="Arial" charset="0"/>
              </a:rPr>
              <a:t>  0</a:t>
            </a:r>
            <a:r>
              <a:rPr lang="es-PE" sz="1000" kern="0" dirty="0">
                <a:solidFill>
                  <a:srgbClr val="000000"/>
                </a:solidFill>
                <a:latin typeface="Arial" charset="0"/>
              </a:rPr>
              <a:t>:Desactivar </a:t>
            </a:r>
            <a:r>
              <a:rPr lang="es-PE" sz="1000" kern="0" dirty="0" err="1">
                <a:solidFill>
                  <a:srgbClr val="000000"/>
                </a:solidFill>
                <a:latin typeface="Arial" charset="0"/>
              </a:rPr>
              <a:t>On</a:t>
            </a:r>
            <a:r>
              <a:rPr lang="es-PE" sz="1000" kern="0" dirty="0">
                <a:solidFill>
                  <a:srgbClr val="000000"/>
                </a:solidFill>
                <a:latin typeface="Arial" charset="0"/>
              </a:rPr>
              <a:t>-premise y activar Cloud Síncrono</a:t>
            </a:r>
            <a:endParaRPr kumimoji="0" lang="es-PE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PRM_ENABLE_ASYNC_FLAGS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PE" sz="1000" kern="0" dirty="0">
                <a:solidFill>
                  <a:srgbClr val="000000"/>
                </a:solidFill>
                <a:latin typeface="Arial" charset="0"/>
              </a:rPr>
              <a:t>  </a:t>
            </a:r>
            <a:r>
              <a:rPr lang="es-PE" sz="1000" b="1" kern="0" dirty="0">
                <a:solidFill>
                  <a:srgbClr val="000000"/>
                </a:solidFill>
                <a:latin typeface="Arial" charset="0"/>
              </a:rPr>
              <a:t>0</a:t>
            </a:r>
            <a:r>
              <a:rPr lang="es-PE" sz="1000" kern="0" dirty="0">
                <a:solidFill>
                  <a:srgbClr val="000000"/>
                </a:solidFill>
                <a:latin typeface="Arial" charset="0"/>
              </a:rPr>
              <a:t>:Desactivar control de banderas de predecesores .</a:t>
            </a:r>
            <a:r>
              <a:rPr lang="es-PE" sz="1000" b="1" kern="0" dirty="0">
                <a:solidFill>
                  <a:srgbClr val="000000"/>
                </a:solidFill>
                <a:latin typeface="Arial" charset="0"/>
              </a:rPr>
              <a:t>	</a:t>
            </a:r>
            <a:endParaRPr kumimoji="0" lang="es-PE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pic>
        <p:nvPicPr>
          <p:cNvPr id="31" name="Imagen 30">
            <a:extLst>
              <a:ext uri="{FF2B5EF4-FFF2-40B4-BE49-F238E27FC236}">
                <a16:creationId xmlns:a16="http://schemas.microsoft.com/office/drawing/2014/main" id="{EDE41890-9F54-B220-EE0F-7485E1265AE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18902" y="5993164"/>
            <a:ext cx="498144" cy="498144"/>
          </a:xfrm>
          <a:prstGeom prst="rect">
            <a:avLst/>
          </a:prstGeom>
        </p:spPr>
      </p:pic>
      <p:sp>
        <p:nvSpPr>
          <p:cNvPr id="32" name="Rectángulo 31">
            <a:extLst>
              <a:ext uri="{FF2B5EF4-FFF2-40B4-BE49-F238E27FC236}">
                <a16:creationId xmlns:a16="http://schemas.microsoft.com/office/drawing/2014/main" id="{6DE9ED55-32F2-B80F-476F-78161D71D3D3}"/>
              </a:ext>
            </a:extLst>
          </p:cNvPr>
          <p:cNvSpPr/>
          <p:nvPr/>
        </p:nvSpPr>
        <p:spPr>
          <a:xfrm>
            <a:off x="927406" y="264313"/>
            <a:ext cx="957541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56957">
              <a:defRPr/>
            </a:pPr>
            <a:r>
              <a:rPr lang="es-ES" sz="28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Ejecución </a:t>
            </a:r>
            <a:r>
              <a:rPr lang="es-ES" sz="2800" b="1" dirty="0" err="1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DMLs</a:t>
            </a:r>
            <a:r>
              <a:rPr lang="es-ES" sz="28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para ejecutar procesos </a:t>
            </a:r>
            <a:r>
              <a:rPr lang="es-ES" sz="2800" b="1" dirty="0" err="1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Datastage</a:t>
            </a:r>
            <a:r>
              <a:rPr lang="es-ES" sz="28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desde Cloud-LHCL</a:t>
            </a:r>
            <a:endParaRPr lang="es-MX" sz="2800" b="1" dirty="0">
              <a:solidFill>
                <a:srgbClr val="002060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F3616B2E-48F1-5860-2699-5790C3651E08}"/>
              </a:ext>
            </a:extLst>
          </p:cNvPr>
          <p:cNvSpPr/>
          <p:nvPr/>
        </p:nvSpPr>
        <p:spPr>
          <a:xfrm>
            <a:off x="821122" y="1320328"/>
            <a:ext cx="105213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4405">
              <a:defRPr/>
            </a:pPr>
            <a:r>
              <a:rPr lang="es-MX" sz="2400" b="1" dirty="0" err="1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DataStage</a:t>
            </a:r>
            <a:endParaRPr lang="es-MX" sz="2400" b="1" dirty="0">
              <a:solidFill>
                <a:srgbClr val="002060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704286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A8AEA11B-BDBD-3386-8304-91FA5C44BE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3270" y="2980387"/>
            <a:ext cx="8896350" cy="771525"/>
          </a:xfrm>
          <a:prstGeom prst="rect">
            <a:avLst/>
          </a:prstGeom>
          <a:ln w="9525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D782431D-8FD0-3E7F-EC90-91AFDC69312D}"/>
              </a:ext>
            </a:extLst>
          </p:cNvPr>
          <p:cNvSpPr/>
          <p:nvPr/>
        </p:nvSpPr>
        <p:spPr>
          <a:xfrm>
            <a:off x="995708" y="2582867"/>
            <a:ext cx="105213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4405">
              <a:defRPr/>
            </a:pPr>
            <a:r>
              <a:rPr lang="es-MX" sz="14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Registro de parámetros de convivencia en la tabla ADMIN.CT_PARAMETROPROCESOCARGA_LHCL 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75BC05FF-606E-B764-DBBF-E8B2AFCDEA6F}"/>
              </a:ext>
            </a:extLst>
          </p:cNvPr>
          <p:cNvSpPr/>
          <p:nvPr/>
        </p:nvSpPr>
        <p:spPr>
          <a:xfrm>
            <a:off x="995708" y="4664654"/>
            <a:ext cx="88963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4405">
              <a:defRPr/>
            </a:pPr>
            <a:r>
              <a:rPr lang="es-MX" sz="14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Registro de parámetros de convivencia en la tabla ADMIN.CT_PARAMETROPROCESOCARGA_LHCL </a:t>
            </a: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C5C28C96-17A4-C074-23E2-C5D4DCC7B7A9}"/>
              </a:ext>
            </a:extLst>
          </p:cNvPr>
          <p:cNvGrpSpPr/>
          <p:nvPr/>
        </p:nvGrpSpPr>
        <p:grpSpPr>
          <a:xfrm>
            <a:off x="336414" y="430247"/>
            <a:ext cx="615296" cy="615296"/>
            <a:chOff x="536072" y="928559"/>
            <a:chExt cx="615296" cy="615296"/>
          </a:xfrm>
        </p:grpSpPr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1646D5B9-90A9-E10D-FD83-075F0BA968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p:blipFill>
          <p:spPr>
            <a:xfrm>
              <a:off x="536072" y="928559"/>
              <a:ext cx="615296" cy="615296"/>
            </a:xfrm>
            <a:prstGeom prst="rect">
              <a:avLst/>
            </a:prstGeom>
          </p:spPr>
        </p:pic>
        <p:pic>
          <p:nvPicPr>
            <p:cNvPr id="9" name="Picture 19">
              <a:extLst>
                <a:ext uri="{FF2B5EF4-FFF2-40B4-BE49-F238E27FC236}">
                  <a16:creationId xmlns:a16="http://schemas.microsoft.com/office/drawing/2014/main" id="{F087E19E-1DF7-AA6D-2CB1-866A4869B8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p:blipFill>
          <p:spPr>
            <a:xfrm>
              <a:off x="694405" y="1077362"/>
              <a:ext cx="298629" cy="317690"/>
            </a:xfrm>
            <a:prstGeom prst="rect">
              <a:avLst/>
            </a:prstGeom>
          </p:spPr>
        </p:pic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5B174E3D-5C47-6EFC-E35E-F7BBAFD2CA4A}"/>
              </a:ext>
            </a:extLst>
          </p:cNvPr>
          <p:cNvSpPr/>
          <p:nvPr/>
        </p:nvSpPr>
        <p:spPr>
          <a:xfrm>
            <a:off x="995708" y="330028"/>
            <a:ext cx="957541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56957">
              <a:defRPr/>
            </a:pPr>
            <a:r>
              <a:rPr lang="es-ES" sz="28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Ejecución </a:t>
            </a:r>
            <a:r>
              <a:rPr lang="es-ES" sz="2800" b="1" dirty="0" err="1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DMLs</a:t>
            </a:r>
            <a:r>
              <a:rPr lang="es-ES" sz="28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para desactivar procesos </a:t>
            </a:r>
            <a:r>
              <a:rPr lang="es-ES" sz="2800" b="1" dirty="0" err="1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n</a:t>
            </a:r>
            <a:r>
              <a:rPr lang="es-ES" sz="28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-premise y activar procesos Cloud modo síncrono</a:t>
            </a:r>
            <a:endParaRPr lang="es-MX" sz="2800" b="1" dirty="0">
              <a:solidFill>
                <a:srgbClr val="002060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1EF3F5AD-4C5C-B9FC-4EB3-8C6AD7B67C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3270" y="5192265"/>
            <a:ext cx="8896350" cy="771525"/>
          </a:xfrm>
          <a:prstGeom prst="rect">
            <a:avLst/>
          </a:prstGeom>
          <a:ln w="9525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B54544EA-A42E-34D6-3B71-F213F34A2276}"/>
              </a:ext>
            </a:extLst>
          </p:cNvPr>
          <p:cNvSpPr/>
          <p:nvPr/>
        </p:nvSpPr>
        <p:spPr>
          <a:xfrm>
            <a:off x="951710" y="2203396"/>
            <a:ext cx="105213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4405">
              <a:defRPr/>
            </a:pPr>
            <a:r>
              <a:rPr lang="es-MX" sz="24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Azure </a:t>
            </a:r>
            <a:r>
              <a:rPr lang="es-MX" sz="2400" b="1" dirty="0" err="1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Databricks</a:t>
            </a:r>
            <a:endParaRPr lang="es-MX" sz="2400" b="1" dirty="0">
              <a:solidFill>
                <a:srgbClr val="002060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E00B9353-65DA-3417-1F5E-A5732EF458D1}"/>
              </a:ext>
            </a:extLst>
          </p:cNvPr>
          <p:cNvSpPr/>
          <p:nvPr/>
        </p:nvSpPr>
        <p:spPr>
          <a:xfrm>
            <a:off x="995707" y="4131339"/>
            <a:ext cx="105213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4405">
              <a:defRPr/>
            </a:pPr>
            <a:r>
              <a:rPr lang="es-MX" sz="2400" b="1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Azure Data Factory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EDB25B70-F70E-0255-C593-68DEC95D7648}"/>
              </a:ext>
            </a:extLst>
          </p:cNvPr>
          <p:cNvSpPr txBox="1"/>
          <p:nvPr/>
        </p:nvSpPr>
        <p:spPr>
          <a:xfrm>
            <a:off x="951710" y="1417131"/>
            <a:ext cx="10225916" cy="523220"/>
          </a:xfrm>
          <a:prstGeom prst="rect">
            <a:avLst/>
          </a:prstGeom>
          <a:solidFill>
            <a:srgbClr val="FFFFCC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s-ES" sz="1400" dirty="0"/>
              <a:t>Tener en consideración que todos los procesos están configurados por defecto para ejecutarse en </a:t>
            </a:r>
            <a:r>
              <a:rPr lang="es-ES" sz="1400" b="1" dirty="0"/>
              <a:t>modo convivencia</a:t>
            </a:r>
            <a:r>
              <a:rPr lang="es-ES" sz="1400" dirty="0"/>
              <a:t>. Para desactivar esta opción, es necesario registrar en la tabla de parámetros de Cloud los valores de convivencia y validación de banderas con valor 0.</a:t>
            </a:r>
            <a:endParaRPr lang="es-PE" sz="1400" dirty="0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6D1BFB01-3010-39A1-8A99-80368EFE55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00319" y="1718751"/>
            <a:ext cx="277307" cy="277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309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n2AzPxTFSKcQBWv_Os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NbBZpSBqXi60EyK4qD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ANrv93T72bwq4fSgi4S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.i6fcWQ8mU7bayV2YB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gpB_EWVWKfG9GzSj0U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EDznAysrm7uAxBKgKL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EDznAysrm7uAxBKgKLV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8_Firm Format - template_Blue">
  <a:themeElements>
    <a:clrScheme name="BCP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CCCCCC"/>
      </a:accent1>
      <a:accent2>
        <a:srgbClr val="808080"/>
      </a:accent2>
      <a:accent3>
        <a:srgbClr val="595959"/>
      </a:accent3>
      <a:accent4>
        <a:srgbClr val="004A8F"/>
      </a:accent4>
      <a:accent5>
        <a:srgbClr val="F39D1D"/>
      </a:accent5>
      <a:accent6>
        <a:srgbClr val="808080"/>
      </a:accent6>
      <a:hlink>
        <a:srgbClr val="595959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CP">
        <a:dk1>
          <a:srgbClr val="000000"/>
        </a:dk1>
        <a:lt1>
          <a:srgbClr val="FFFFFF"/>
        </a:lt1>
        <a:dk2>
          <a:srgbClr val="595959"/>
        </a:dk2>
        <a:lt2>
          <a:srgbClr val="FFFFFF"/>
        </a:lt2>
        <a:accent1>
          <a:srgbClr val="CCCCCC"/>
        </a:accent1>
        <a:accent2>
          <a:srgbClr val="808080"/>
        </a:accent2>
        <a:accent3>
          <a:srgbClr val="595959"/>
        </a:accent3>
        <a:accent4>
          <a:srgbClr val="004A8F"/>
        </a:accent4>
        <a:accent5>
          <a:srgbClr val="F39D1D"/>
        </a:accent5>
        <a:accent6>
          <a:srgbClr val="808080"/>
        </a:accent6>
        <a:hlink>
          <a:srgbClr val="595959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4.xml><?xml version="1.0" encoding="utf-8"?>
<a:theme xmlns:a="http://schemas.openxmlformats.org/drawingml/2006/main" name="4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ea246f4-0167-47b2-b514-25c9c7735b62" xsi:nil="true"/>
    <lcf76f155ced4ddcb4097134ff3c332f xmlns="b726679a-dbeb-4489-80df-b3849955ed67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6832C832761F843ADE51C698092F46F" ma:contentTypeVersion="14" ma:contentTypeDescription="Crear nuevo documento." ma:contentTypeScope="" ma:versionID="d4bd669171e82ea9e5a136bf39db9a54">
  <xsd:schema xmlns:xsd="http://www.w3.org/2001/XMLSchema" xmlns:xs="http://www.w3.org/2001/XMLSchema" xmlns:p="http://schemas.microsoft.com/office/2006/metadata/properties" xmlns:ns2="b726679a-dbeb-4489-80df-b3849955ed67" xmlns:ns3="fea246f4-0167-47b2-b514-25c9c7735b62" targetNamespace="http://schemas.microsoft.com/office/2006/metadata/properties" ma:root="true" ma:fieldsID="207385bac3a66a128dee165f3146facf" ns2:_="" ns3:_="">
    <xsd:import namespace="b726679a-dbeb-4489-80df-b3849955ed67"/>
    <xsd:import namespace="fea246f4-0167-47b2-b514-25c9c7735b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SearchPropertie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26679a-dbeb-4489-80df-b3849955ed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Etiquetas de imagen" ma:readOnly="false" ma:fieldId="{5cf76f15-5ced-4ddc-b409-7134ff3c332f}" ma:taxonomyMulti="true" ma:sspId="99a4d325-e744-4b40-a3b6-bd808253bd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a246f4-0167-47b2-b514-25c9c7735b6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a10346e2-77c5-453f-8567-b38ef9743126}" ma:internalName="TaxCatchAll" ma:showField="CatchAllData" ma:web="fea246f4-0167-47b2-b514-25c9c7735b6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A18BC8F-0DE6-4A81-A398-2569B2FFD71C}">
  <ds:schemaRefs>
    <ds:schemaRef ds:uri="http://www.w3.org/XML/1998/namespace"/>
    <ds:schemaRef ds:uri="http://schemas.microsoft.com/office/2006/documentManagement/types"/>
    <ds:schemaRef ds:uri="http://purl.org/dc/terms/"/>
    <ds:schemaRef ds:uri="http://purl.org/dc/dcmitype/"/>
    <ds:schemaRef ds:uri="http://schemas.microsoft.com/office/infopath/2007/PartnerControls"/>
    <ds:schemaRef ds:uri="fea246f4-0167-47b2-b514-25c9c7735b62"/>
    <ds:schemaRef ds:uri="http://schemas.openxmlformats.org/package/2006/metadata/core-properties"/>
    <ds:schemaRef ds:uri="http://purl.org/dc/elements/1.1/"/>
    <ds:schemaRef ds:uri="b726679a-dbeb-4489-80df-b3849955ed67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5268E599-4F68-402E-BD4E-5BD26AADF9F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8DA6907-2725-466F-86DF-C090ED53DC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26679a-dbeb-4489-80df-b3849955ed67"/>
    <ds:schemaRef ds:uri="fea246f4-0167-47b2-b514-25c9c7735b6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707</TotalTime>
  <Words>1579</Words>
  <Application>Microsoft Office PowerPoint</Application>
  <PresentationFormat>Panorámica</PresentationFormat>
  <Paragraphs>386</Paragraphs>
  <Slides>12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13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2</vt:i4>
      </vt:variant>
    </vt:vector>
  </HeadingPairs>
  <TitlesOfParts>
    <vt:vector size="31" baseType="lpstr">
      <vt:lpstr>Aharoni</vt:lpstr>
      <vt:lpstr>Aptos Narrow</vt:lpstr>
      <vt:lpstr>Arial</vt:lpstr>
      <vt:lpstr>Arial Narrow</vt:lpstr>
      <vt:lpstr>Arial Rounded MT Bold</vt:lpstr>
      <vt:lpstr>Calibri</vt:lpstr>
      <vt:lpstr>Calibri Light</vt:lpstr>
      <vt:lpstr>Fira Sans Extra Condensed</vt:lpstr>
      <vt:lpstr>Flexo</vt:lpstr>
      <vt:lpstr>Roboto</vt:lpstr>
      <vt:lpstr>Trebuchet MS</vt:lpstr>
      <vt:lpstr>Tw Cen MT</vt:lpstr>
      <vt:lpstr>Wingdings</vt:lpstr>
      <vt:lpstr>1_Tema de Office</vt:lpstr>
      <vt:lpstr>2_Tema de Office</vt:lpstr>
      <vt:lpstr>18_Firm Format - template_Blue</vt:lpstr>
      <vt:lpstr>4_Tema de Office</vt:lpstr>
      <vt:lpstr>Diapositiva de think-cell</vt:lpstr>
      <vt:lpstr>think-cell Slide</vt:lpstr>
      <vt:lpstr>Estrategia de Desacople Rutina Onpremise  Cloud</vt:lpstr>
      <vt:lpstr>Presentación de PowerPoint</vt:lpstr>
      <vt:lpstr>Presentación de PowerPoint</vt:lpstr>
      <vt:lpstr>Presentación de PowerPoint</vt:lpstr>
      <vt:lpstr>CONFIGURACIÓN DE PARAMETROS PARA EJECUCIÓN DE PROCESOS DATASTAGE DISEÑO 1 DESDE CLOUD</vt:lpstr>
      <vt:lpstr>Presentación de PowerPoint</vt:lpstr>
      <vt:lpstr>Presentación de PowerPoint</vt:lpstr>
      <vt:lpstr>Presentación de PowerPoint</vt:lpstr>
      <vt:lpstr>Presentación de PowerPoint</vt:lpstr>
      <vt:lpstr>Ejecución de procesos en dinámico (demanda)</vt:lpstr>
      <vt:lpstr>Presentación de PowerPoint</vt:lpstr>
      <vt:lpstr>PRUEBAS EN DESARROLL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precado Estrategia Shell Genérica - Malla</dc:title>
  <dc:creator>Abraham Roman</dc:creator>
  <cp:lastModifiedBy>Richard Jose Tadeo Zenteno</cp:lastModifiedBy>
  <cp:revision>521</cp:revision>
  <dcterms:created xsi:type="dcterms:W3CDTF">2024-01-17T17:26:16Z</dcterms:created>
  <dcterms:modified xsi:type="dcterms:W3CDTF">2024-04-26T19:2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832C832761F843ADE51C698092F46F</vt:lpwstr>
  </property>
  <property fmtid="{D5CDD505-2E9C-101B-9397-08002B2CF9AE}" pid="3" name="MSIP_Label_c15ead3b-a842-409e-8059-3e3468c48585_Enabled">
    <vt:lpwstr>true</vt:lpwstr>
  </property>
  <property fmtid="{D5CDD505-2E9C-101B-9397-08002B2CF9AE}" pid="4" name="MSIP_Label_c15ead3b-a842-409e-8059-3e3468c48585_SetDate">
    <vt:lpwstr>2024-01-17T18:54:59Z</vt:lpwstr>
  </property>
  <property fmtid="{D5CDD505-2E9C-101B-9397-08002B2CF9AE}" pid="5" name="MSIP_Label_c15ead3b-a842-409e-8059-3e3468c48585_Method">
    <vt:lpwstr>Standard</vt:lpwstr>
  </property>
  <property fmtid="{D5CDD505-2E9C-101B-9397-08002B2CF9AE}" pid="6" name="MSIP_Label_c15ead3b-a842-409e-8059-3e3468c48585_Name">
    <vt:lpwstr>Interna BCP</vt:lpwstr>
  </property>
  <property fmtid="{D5CDD505-2E9C-101B-9397-08002B2CF9AE}" pid="7" name="MSIP_Label_c15ead3b-a842-409e-8059-3e3468c48585_SiteId">
    <vt:lpwstr>5d93ebcc-f769-4380-8b7e-289fc972da1b</vt:lpwstr>
  </property>
  <property fmtid="{D5CDD505-2E9C-101B-9397-08002B2CF9AE}" pid="8" name="MSIP_Label_c15ead3b-a842-409e-8059-3e3468c48585_ActionId">
    <vt:lpwstr>6ef9cb28-7e99-4b1b-8bf0-fcbc7d8d7cef</vt:lpwstr>
  </property>
  <property fmtid="{D5CDD505-2E9C-101B-9397-08002B2CF9AE}" pid="9" name="MSIP_Label_c15ead3b-a842-409e-8059-3e3468c48585_ContentBits">
    <vt:lpwstr>2</vt:lpwstr>
  </property>
  <property fmtid="{D5CDD505-2E9C-101B-9397-08002B2CF9AE}" pid="10" name="ClassificationContentMarkingFooterLocations">
    <vt:lpwstr>1_Tema de Office:7\2_Tema de Office:8</vt:lpwstr>
  </property>
  <property fmtid="{D5CDD505-2E9C-101B-9397-08002B2CF9AE}" pid="11" name="ClassificationContentMarkingFooterText">
    <vt:lpwstr>Datos elaborados por BCP para uso Interno</vt:lpwstr>
  </property>
</Properties>
</file>